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5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943" r:id="rId5"/>
    <p:sldMasterId id="2147483961" r:id="rId6"/>
  </p:sldMasterIdLst>
  <p:notesMasterIdLst>
    <p:notesMasterId r:id="rId35"/>
  </p:notesMasterIdLst>
  <p:handoutMasterIdLst>
    <p:handoutMasterId r:id="rId36"/>
  </p:handoutMasterIdLst>
  <p:sldIdLst>
    <p:sldId id="541" r:id="rId7"/>
    <p:sldId id="530" r:id="rId8"/>
    <p:sldId id="2145706726" r:id="rId9"/>
    <p:sldId id="2145706741" r:id="rId10"/>
    <p:sldId id="2145706729" r:id="rId11"/>
    <p:sldId id="2145706733" r:id="rId12"/>
    <p:sldId id="2145706734" r:id="rId13"/>
    <p:sldId id="2145706735" r:id="rId14"/>
    <p:sldId id="2145706731" r:id="rId15"/>
    <p:sldId id="2145706736" r:id="rId16"/>
    <p:sldId id="2145706737" r:id="rId17"/>
    <p:sldId id="2145706738" r:id="rId18"/>
    <p:sldId id="2145706730" r:id="rId19"/>
    <p:sldId id="773" r:id="rId20"/>
    <p:sldId id="780" r:id="rId21"/>
    <p:sldId id="2145706725" r:id="rId22"/>
    <p:sldId id="1399" r:id="rId23"/>
    <p:sldId id="1405" r:id="rId24"/>
    <p:sldId id="1402" r:id="rId25"/>
    <p:sldId id="1404" r:id="rId26"/>
    <p:sldId id="1400" r:id="rId27"/>
    <p:sldId id="2145706740" r:id="rId28"/>
    <p:sldId id="2145706727" r:id="rId29"/>
    <p:sldId id="781" r:id="rId30"/>
    <p:sldId id="794" r:id="rId31"/>
    <p:sldId id="795" r:id="rId32"/>
    <p:sldId id="2145706728" r:id="rId33"/>
    <p:sldId id="579" r:id="rId34"/>
  </p:sldIdLst>
  <p:sldSz cx="12192000" cy="6858000"/>
  <p:notesSz cx="7099300" cy="10234613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661" userDrawn="1">
          <p15:clr>
            <a:srgbClr val="A4A3A4"/>
          </p15:clr>
        </p15:guide>
        <p15:guide id="4" pos="942" userDrawn="1">
          <p15:clr>
            <a:srgbClr val="A4A3A4"/>
          </p15:clr>
        </p15:guide>
        <p15:guide id="5" orient="horz" pos="1366" userDrawn="1">
          <p15:clr>
            <a:srgbClr val="A4A3A4"/>
          </p15:clr>
        </p15:guide>
        <p15:guide id="6" pos="7492">
          <p15:clr>
            <a:srgbClr val="A4A3A4"/>
          </p15:clr>
        </p15:guide>
        <p15:guide id="7" orient="horz" pos="487" userDrawn="1">
          <p15:clr>
            <a:srgbClr val="A4A3A4"/>
          </p15:clr>
        </p15:guide>
        <p15:guide id="8" pos="347" userDrawn="1">
          <p15:clr>
            <a:srgbClr val="A4A3A4"/>
          </p15:clr>
        </p15:guide>
        <p15:guide id="9" orient="horz" pos="768" userDrawn="1">
          <p15:clr>
            <a:srgbClr val="A4A3A4"/>
          </p15:clr>
        </p15:guide>
        <p15:guide id="10" pos="34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5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kker, Marjolein" initials="DM" lastIdx="8" clrIdx="0">
    <p:extLst>
      <p:ext uri="{19B8F6BF-5375-455C-9EA6-DF929625EA0E}">
        <p15:presenceInfo xmlns:p15="http://schemas.microsoft.com/office/powerpoint/2012/main" userId="S-1-5-21-4276495402-815475158-1416558717-141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C31"/>
    <a:srgbClr val="E7F4D8"/>
    <a:srgbClr val="503B00"/>
    <a:srgbClr val="E6F2FA"/>
    <a:srgbClr val="F5F9F9"/>
    <a:srgbClr val="F9F9F9"/>
    <a:srgbClr val="FFF9F3"/>
    <a:srgbClr val="F3F9EB"/>
    <a:srgbClr val="E7F0F1"/>
    <a:srgbClr val="D4EE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97" autoAdjust="0"/>
  </p:normalViewPr>
  <p:slideViewPr>
    <p:cSldViewPr snapToGrid="0">
      <p:cViewPr varScale="1">
        <p:scale>
          <a:sx n="67" d="100"/>
          <a:sy n="67" d="100"/>
        </p:scale>
        <p:origin x="644" y="52"/>
      </p:cViewPr>
      <p:guideLst>
        <p:guide orient="horz" pos="2160"/>
        <p:guide pos="3840"/>
        <p:guide orient="horz" pos="1661"/>
        <p:guide pos="942"/>
        <p:guide orient="horz" pos="1366"/>
        <p:guide pos="7492"/>
        <p:guide orient="horz" pos="487"/>
        <p:guide pos="347"/>
        <p:guide orient="horz" pos="768"/>
        <p:guide pos="34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756" y="114"/>
      </p:cViewPr>
      <p:guideLst>
        <p:guide orient="horz" pos="3225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F0C73F-F258-4AFF-91DF-3DA49B8F3F55}" type="doc">
      <dgm:prSet loTypeId="urn:microsoft.com/office/officeart/2005/8/layout/chevron1" loCatId="process" qsTypeId="urn:microsoft.com/office/officeart/2005/8/quickstyle/simple1" qsCatId="simple" csTypeId="urn:microsoft.com/office/officeart/2005/8/colors/colorful3" csCatId="colorful" phldr="1"/>
      <dgm:spPr/>
    </dgm:pt>
    <dgm:pt modelId="{EAA84402-F066-4097-9EFB-6B4CB58AAC21}">
      <dgm:prSet phldrT="[Text]" custT="1"/>
      <dgm:spPr>
        <a:xfrm>
          <a:off x="4872" y="0"/>
          <a:ext cx="2232145" cy="217238"/>
        </a:xfrm>
        <a:prstGeom prst="chevron">
          <a:avLst/>
        </a:prstGeom>
        <a:solidFill>
          <a:srgbClr val="8348B5">
            <a:lumMod val="5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400" b="0" dirty="0">
              <a:solidFill>
                <a:sysClr val="window" lastClr="FFFFFF"/>
              </a:solidFill>
              <a:latin typeface="Calibri" panose="020F0502020204030204" pitchFamily="34" charset="0"/>
              <a:ea typeface="+mn-ea"/>
              <a:cs typeface="+mn-cs"/>
            </a:rPr>
            <a:t>Discover</a:t>
          </a:r>
        </a:p>
      </dgm:t>
    </dgm:pt>
    <dgm:pt modelId="{BD9EB262-73B1-4F12-B45A-93D47EA9C1C4}" type="parTrans" cxnId="{22A93FCB-2581-4F0B-8FBF-2C11C52090E6}">
      <dgm:prSet/>
      <dgm:spPr/>
      <dgm:t>
        <a:bodyPr/>
        <a:lstStyle/>
        <a:p>
          <a:endParaRPr lang="en-US" sz="1400" b="0"/>
        </a:p>
      </dgm:t>
    </dgm:pt>
    <dgm:pt modelId="{C952650E-953D-4C71-BB88-4A59D3952021}" type="sibTrans" cxnId="{22A93FCB-2581-4F0B-8FBF-2C11C52090E6}">
      <dgm:prSet/>
      <dgm:spPr/>
      <dgm:t>
        <a:bodyPr/>
        <a:lstStyle/>
        <a:p>
          <a:endParaRPr lang="en-US" sz="1400" b="0"/>
        </a:p>
      </dgm:t>
    </dgm:pt>
    <dgm:pt modelId="{85AD30DD-3A4E-49BD-85FC-3C3B82CF8453}">
      <dgm:prSet phldrT="[Text]" custT="1"/>
      <dgm:spPr>
        <a:xfrm>
          <a:off x="2019446" y="-470"/>
          <a:ext cx="2175707" cy="218178"/>
        </a:xfrm>
        <a:prstGeom prst="chevron">
          <a:avLst/>
        </a:prstGeom>
        <a:solidFill>
          <a:srgbClr val="00A4E4">
            <a:lumMod val="40000"/>
            <a:lumOff val="6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400" b="0" dirty="0">
              <a:solidFill>
                <a:sysClr val="windowText" lastClr="000000"/>
              </a:solidFill>
              <a:latin typeface="Calibri" panose="020F0502020204030204" pitchFamily="34" charset="0"/>
              <a:ea typeface="+mn-ea"/>
              <a:cs typeface="+mn-cs"/>
            </a:rPr>
            <a:t>Nurture</a:t>
          </a:r>
        </a:p>
      </dgm:t>
    </dgm:pt>
    <dgm:pt modelId="{43283866-8F25-4C95-94BA-C3D89634D5B7}" type="parTrans" cxnId="{1D799CB9-6D49-49CA-9838-1C88FAAEA5C0}">
      <dgm:prSet/>
      <dgm:spPr/>
      <dgm:t>
        <a:bodyPr/>
        <a:lstStyle/>
        <a:p>
          <a:endParaRPr lang="en-US" sz="1400" b="0"/>
        </a:p>
      </dgm:t>
    </dgm:pt>
    <dgm:pt modelId="{429EF4E9-13EA-4E31-AEF3-B7122F6377CF}" type="sibTrans" cxnId="{1D799CB9-6D49-49CA-9838-1C88FAAEA5C0}">
      <dgm:prSet/>
      <dgm:spPr/>
      <dgm:t>
        <a:bodyPr/>
        <a:lstStyle/>
        <a:p>
          <a:endParaRPr lang="en-US" sz="1400" b="0"/>
        </a:p>
      </dgm:t>
    </dgm:pt>
    <dgm:pt modelId="{910EA63A-F2D0-4DEC-98AD-F4E2FF7697DC}">
      <dgm:prSet phldrT="[Text]" custT="1"/>
      <dgm:spPr>
        <a:xfrm>
          <a:off x="4020458" y="-470"/>
          <a:ext cx="2175707" cy="218178"/>
        </a:xfrm>
        <a:prstGeom prst="chevron">
          <a:avLst/>
        </a:prstGeom>
        <a:solidFill>
          <a:srgbClr val="C1D82F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400" b="0" dirty="0">
              <a:solidFill>
                <a:sysClr val="windowText" lastClr="000000"/>
              </a:solidFill>
              <a:latin typeface="Calibri" panose="020F0502020204030204" pitchFamily="34" charset="0"/>
              <a:ea typeface="+mn-ea"/>
              <a:cs typeface="+mn-cs"/>
            </a:rPr>
            <a:t>Convert</a:t>
          </a:r>
        </a:p>
      </dgm:t>
    </dgm:pt>
    <dgm:pt modelId="{3F5D800D-C9A4-4BB9-9D86-FA2F75995BE4}" type="parTrans" cxnId="{D3AD2383-0D29-466D-B91E-CAB859EC719C}">
      <dgm:prSet/>
      <dgm:spPr/>
      <dgm:t>
        <a:bodyPr/>
        <a:lstStyle/>
        <a:p>
          <a:endParaRPr lang="en-US" sz="1400" b="0"/>
        </a:p>
      </dgm:t>
    </dgm:pt>
    <dgm:pt modelId="{40FCE383-DB38-48A3-92A5-6C98E63B7552}" type="sibTrans" cxnId="{D3AD2383-0D29-466D-B91E-CAB859EC719C}">
      <dgm:prSet/>
      <dgm:spPr/>
      <dgm:t>
        <a:bodyPr/>
        <a:lstStyle/>
        <a:p>
          <a:endParaRPr lang="en-US" sz="1400" b="0"/>
        </a:p>
      </dgm:t>
    </dgm:pt>
    <dgm:pt modelId="{E03408A7-0475-4152-AEEF-CE89940BD4DD}">
      <dgm:prSet phldrT="[Text]" custT="1"/>
      <dgm:spPr>
        <a:xfrm>
          <a:off x="5940592" y="-470"/>
          <a:ext cx="2175707" cy="218178"/>
        </a:xfrm>
        <a:prstGeom prst="chevron">
          <a:avLst/>
        </a:prstGeom>
        <a:solidFill>
          <a:srgbClr val="FBB034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400" b="0" dirty="0">
              <a:solidFill>
                <a:sysClr val="windowText" lastClr="000000"/>
              </a:solidFill>
              <a:latin typeface="Calibri" panose="020F0502020204030204" pitchFamily="34" charset="0"/>
              <a:ea typeface="+mn-ea"/>
              <a:cs typeface="+mn-cs"/>
            </a:rPr>
            <a:t>Engage</a:t>
          </a:r>
        </a:p>
      </dgm:t>
    </dgm:pt>
    <dgm:pt modelId="{36D28A72-07FF-4106-9B39-5D002920301A}" type="parTrans" cxnId="{A07C904D-9EC1-492A-B271-8D1C8EF6666B}">
      <dgm:prSet/>
      <dgm:spPr/>
      <dgm:t>
        <a:bodyPr/>
        <a:lstStyle/>
        <a:p>
          <a:endParaRPr lang="en-US" sz="1400" b="0"/>
        </a:p>
      </dgm:t>
    </dgm:pt>
    <dgm:pt modelId="{78F1CE46-AE7D-4F14-9E32-2F188094FFBA}" type="sibTrans" cxnId="{A07C904D-9EC1-492A-B271-8D1C8EF6666B}">
      <dgm:prSet/>
      <dgm:spPr/>
      <dgm:t>
        <a:bodyPr/>
        <a:lstStyle/>
        <a:p>
          <a:endParaRPr lang="en-US" sz="1400" b="0"/>
        </a:p>
      </dgm:t>
    </dgm:pt>
    <dgm:pt modelId="{450A4A5A-7D0A-4CCF-B29F-84F41D8CE278}" type="pres">
      <dgm:prSet presAssocID="{97F0C73F-F258-4AFF-91DF-3DA49B8F3F55}" presName="Name0" presStyleCnt="0">
        <dgm:presLayoutVars>
          <dgm:dir/>
          <dgm:animLvl val="lvl"/>
          <dgm:resizeHandles val="exact"/>
        </dgm:presLayoutVars>
      </dgm:prSet>
      <dgm:spPr/>
    </dgm:pt>
    <dgm:pt modelId="{9A114C86-F9AD-4CE4-AEE0-3D2846CCF52B}" type="pres">
      <dgm:prSet presAssocID="{EAA84402-F066-4097-9EFB-6B4CB58AAC21}" presName="parTxOnly" presStyleLbl="node1" presStyleIdx="0" presStyleCnt="4" custScaleX="102594" custScaleY="99569">
        <dgm:presLayoutVars>
          <dgm:chMax val="0"/>
          <dgm:chPref val="0"/>
          <dgm:bulletEnabled val="1"/>
        </dgm:presLayoutVars>
      </dgm:prSet>
      <dgm:spPr/>
    </dgm:pt>
    <dgm:pt modelId="{2C3E70E4-F6C0-4B95-B1D1-4BEDF13DA3B4}" type="pres">
      <dgm:prSet presAssocID="{C952650E-953D-4C71-BB88-4A59D3952021}" presName="parTxOnlySpace" presStyleCnt="0"/>
      <dgm:spPr/>
    </dgm:pt>
    <dgm:pt modelId="{7CA66018-31D8-41B2-90CC-B42936EEAE5F}" type="pres">
      <dgm:prSet presAssocID="{85AD30DD-3A4E-49BD-85FC-3C3B82CF8453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05072BE-3623-4A9C-A700-79781A07F9A8}" type="pres">
      <dgm:prSet presAssocID="{429EF4E9-13EA-4E31-AEF3-B7122F6377CF}" presName="parTxOnlySpace" presStyleCnt="0"/>
      <dgm:spPr/>
    </dgm:pt>
    <dgm:pt modelId="{6A43D91A-2665-454D-BB80-4D4BDD014A29}" type="pres">
      <dgm:prSet presAssocID="{910EA63A-F2D0-4DEC-98AD-F4E2FF7697DC}" presName="parTxOnly" presStyleLbl="node1" presStyleIdx="2" presStyleCnt="4" custLinFactNeighborX="19706" custLinFactNeighborY="12757">
        <dgm:presLayoutVars>
          <dgm:chMax val="0"/>
          <dgm:chPref val="0"/>
          <dgm:bulletEnabled val="1"/>
        </dgm:presLayoutVars>
      </dgm:prSet>
      <dgm:spPr/>
    </dgm:pt>
    <dgm:pt modelId="{1F3F90B2-5603-496B-B23A-94330312D702}" type="pres">
      <dgm:prSet presAssocID="{40FCE383-DB38-48A3-92A5-6C98E63B7552}" presName="parTxOnlySpace" presStyleCnt="0"/>
      <dgm:spPr/>
    </dgm:pt>
    <dgm:pt modelId="{1FD93ED9-7F11-479B-9F35-E4C098E2534A}" type="pres">
      <dgm:prSet presAssocID="{E03408A7-0475-4152-AEEF-CE89940BD4DD}" presName="parTxOnly" presStyleLbl="node1" presStyleIdx="3" presStyleCnt="4" custLinFactNeighborX="69169" custLinFactNeighborY="50">
        <dgm:presLayoutVars>
          <dgm:chMax val="0"/>
          <dgm:chPref val="0"/>
          <dgm:bulletEnabled val="1"/>
        </dgm:presLayoutVars>
      </dgm:prSet>
      <dgm:spPr/>
    </dgm:pt>
  </dgm:ptLst>
  <dgm:cxnLst>
    <dgm:cxn modelId="{A07C904D-9EC1-492A-B271-8D1C8EF6666B}" srcId="{97F0C73F-F258-4AFF-91DF-3DA49B8F3F55}" destId="{E03408A7-0475-4152-AEEF-CE89940BD4DD}" srcOrd="3" destOrd="0" parTransId="{36D28A72-07FF-4106-9B39-5D002920301A}" sibTransId="{78F1CE46-AE7D-4F14-9E32-2F188094FFBA}"/>
    <dgm:cxn modelId="{14079C53-846F-4119-A929-9FEC92ADFA89}" type="presOf" srcId="{E03408A7-0475-4152-AEEF-CE89940BD4DD}" destId="{1FD93ED9-7F11-479B-9F35-E4C098E2534A}" srcOrd="0" destOrd="0" presId="urn:microsoft.com/office/officeart/2005/8/layout/chevron1"/>
    <dgm:cxn modelId="{174D1074-2963-42E5-B7F9-F07D42E9D1F4}" type="presOf" srcId="{85AD30DD-3A4E-49BD-85FC-3C3B82CF8453}" destId="{7CA66018-31D8-41B2-90CC-B42936EEAE5F}" srcOrd="0" destOrd="0" presId="urn:microsoft.com/office/officeart/2005/8/layout/chevron1"/>
    <dgm:cxn modelId="{D3AD2383-0D29-466D-B91E-CAB859EC719C}" srcId="{97F0C73F-F258-4AFF-91DF-3DA49B8F3F55}" destId="{910EA63A-F2D0-4DEC-98AD-F4E2FF7697DC}" srcOrd="2" destOrd="0" parTransId="{3F5D800D-C9A4-4BB9-9D86-FA2F75995BE4}" sibTransId="{40FCE383-DB38-48A3-92A5-6C98E63B7552}"/>
    <dgm:cxn modelId="{B1C40A90-EA08-45C5-B47A-32E95FB107D9}" type="presOf" srcId="{97F0C73F-F258-4AFF-91DF-3DA49B8F3F55}" destId="{450A4A5A-7D0A-4CCF-B29F-84F41D8CE278}" srcOrd="0" destOrd="0" presId="urn:microsoft.com/office/officeart/2005/8/layout/chevron1"/>
    <dgm:cxn modelId="{1D799CB9-6D49-49CA-9838-1C88FAAEA5C0}" srcId="{97F0C73F-F258-4AFF-91DF-3DA49B8F3F55}" destId="{85AD30DD-3A4E-49BD-85FC-3C3B82CF8453}" srcOrd="1" destOrd="0" parTransId="{43283866-8F25-4C95-94BA-C3D89634D5B7}" sibTransId="{429EF4E9-13EA-4E31-AEF3-B7122F6377CF}"/>
    <dgm:cxn modelId="{BEA3EBBA-7DBF-42CC-A579-69748043E88E}" type="presOf" srcId="{910EA63A-F2D0-4DEC-98AD-F4E2FF7697DC}" destId="{6A43D91A-2665-454D-BB80-4D4BDD014A29}" srcOrd="0" destOrd="0" presId="urn:microsoft.com/office/officeart/2005/8/layout/chevron1"/>
    <dgm:cxn modelId="{22A93FCB-2581-4F0B-8FBF-2C11C52090E6}" srcId="{97F0C73F-F258-4AFF-91DF-3DA49B8F3F55}" destId="{EAA84402-F066-4097-9EFB-6B4CB58AAC21}" srcOrd="0" destOrd="0" parTransId="{BD9EB262-73B1-4F12-B45A-93D47EA9C1C4}" sibTransId="{C952650E-953D-4C71-BB88-4A59D3952021}"/>
    <dgm:cxn modelId="{C80E0FF4-F0B6-4D38-A57B-2C76FE635B3F}" type="presOf" srcId="{EAA84402-F066-4097-9EFB-6B4CB58AAC21}" destId="{9A114C86-F9AD-4CE4-AEE0-3D2846CCF52B}" srcOrd="0" destOrd="0" presId="urn:microsoft.com/office/officeart/2005/8/layout/chevron1"/>
    <dgm:cxn modelId="{DA65D76E-6BAA-4621-8CAD-6527D2E6093D}" type="presParOf" srcId="{450A4A5A-7D0A-4CCF-B29F-84F41D8CE278}" destId="{9A114C86-F9AD-4CE4-AEE0-3D2846CCF52B}" srcOrd="0" destOrd="0" presId="urn:microsoft.com/office/officeart/2005/8/layout/chevron1"/>
    <dgm:cxn modelId="{73C32065-E366-4964-B6AC-E77B208E9218}" type="presParOf" srcId="{450A4A5A-7D0A-4CCF-B29F-84F41D8CE278}" destId="{2C3E70E4-F6C0-4B95-B1D1-4BEDF13DA3B4}" srcOrd="1" destOrd="0" presId="urn:microsoft.com/office/officeart/2005/8/layout/chevron1"/>
    <dgm:cxn modelId="{C261C850-C4CF-413B-90BE-B6CAFDB56886}" type="presParOf" srcId="{450A4A5A-7D0A-4CCF-B29F-84F41D8CE278}" destId="{7CA66018-31D8-41B2-90CC-B42936EEAE5F}" srcOrd="2" destOrd="0" presId="urn:microsoft.com/office/officeart/2005/8/layout/chevron1"/>
    <dgm:cxn modelId="{8D938A6F-A230-44A8-8C8B-FBA8AD1A0638}" type="presParOf" srcId="{450A4A5A-7D0A-4CCF-B29F-84F41D8CE278}" destId="{205072BE-3623-4A9C-A700-79781A07F9A8}" srcOrd="3" destOrd="0" presId="urn:microsoft.com/office/officeart/2005/8/layout/chevron1"/>
    <dgm:cxn modelId="{BD3F9ABF-0E50-45ED-9DE4-01D04C9C98E0}" type="presParOf" srcId="{450A4A5A-7D0A-4CCF-B29F-84F41D8CE278}" destId="{6A43D91A-2665-454D-BB80-4D4BDD014A29}" srcOrd="4" destOrd="0" presId="urn:microsoft.com/office/officeart/2005/8/layout/chevron1"/>
    <dgm:cxn modelId="{86D6697E-6C68-4F07-A235-5F4BA3BC1D31}" type="presParOf" srcId="{450A4A5A-7D0A-4CCF-B29F-84F41D8CE278}" destId="{1F3F90B2-5603-496B-B23A-94330312D702}" srcOrd="5" destOrd="0" presId="urn:microsoft.com/office/officeart/2005/8/layout/chevron1"/>
    <dgm:cxn modelId="{97D3A34C-1248-498D-B71A-B6F108CAD4CB}" type="presParOf" srcId="{450A4A5A-7D0A-4CCF-B29F-84F41D8CE278}" destId="{1FD93ED9-7F11-479B-9F35-E4C098E2534A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943193-7581-4A30-8A1F-AD69D9DE26DF}" type="doc">
      <dgm:prSet loTypeId="urn:microsoft.com/office/officeart/2005/8/layout/chevron1" loCatId="process" qsTypeId="urn:microsoft.com/office/officeart/2005/8/quickstyle/simple1" qsCatId="simple" csTypeId="urn:microsoft.com/office/officeart/2005/8/colors/accent4_5" csCatId="accent4" phldr="1"/>
      <dgm:spPr/>
    </dgm:pt>
    <dgm:pt modelId="{3B820269-E346-46E6-9E83-9B148087FBB7}">
      <dgm:prSet phldrT="[Text]" custT="1"/>
      <dgm:spPr>
        <a:xfrm>
          <a:off x="4560" y="0"/>
          <a:ext cx="2654981" cy="702896"/>
        </a:xfrm>
        <a:prstGeom prst="chevron">
          <a:avLst/>
        </a:prstGeom>
        <a:solidFill>
          <a:srgbClr val="ADCDEC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800" dirty="0">
              <a:solidFill>
                <a:srgbClr val="2D2D2A"/>
              </a:solidFill>
              <a:latin typeface="Calibri"/>
              <a:ea typeface="+mn-ea"/>
              <a:cs typeface="+mn-cs"/>
            </a:rPr>
            <a:t>Discover</a:t>
          </a:r>
        </a:p>
      </dgm:t>
    </dgm:pt>
    <dgm:pt modelId="{3D00AC4D-1FEB-4F7A-8142-39178C99AC82}" type="parTrans" cxnId="{60B21AD7-EEC4-4CB6-9B9F-B9C5D0023F9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2ED9E68-F44F-45D3-BBC3-278616E9E5F4}" type="sibTrans" cxnId="{60B21AD7-EEC4-4CB6-9B9F-B9C5D0023F9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6F4A74F-8710-4D4F-8EBB-F58EE5A33B2B}">
      <dgm:prSet phldrT="[Text]" custT="1"/>
      <dgm:spPr>
        <a:xfrm>
          <a:off x="2394044" y="0"/>
          <a:ext cx="2654981" cy="702896"/>
        </a:xfrm>
        <a:prstGeom prst="chevron">
          <a:avLst/>
        </a:prstGeom>
        <a:solidFill>
          <a:srgbClr val="ADCDEC">
            <a:alpha val="90000"/>
            <a:hueOff val="0"/>
            <a:satOff val="0"/>
            <a:lumOff val="0"/>
            <a:alphaOff val="-13333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800" dirty="0">
              <a:solidFill>
                <a:srgbClr val="2D2D2A"/>
              </a:solidFill>
              <a:latin typeface="Calibri"/>
              <a:ea typeface="+mn-ea"/>
              <a:cs typeface="+mn-cs"/>
            </a:rPr>
            <a:t>Design</a:t>
          </a:r>
        </a:p>
      </dgm:t>
    </dgm:pt>
    <dgm:pt modelId="{1E969626-7636-49D1-8DDB-99BA9D38B9C8}" type="parTrans" cxnId="{0E9B3187-CA10-4F27-A85C-9F8BB54FB40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2221034-7F39-474B-9FF2-084071EE7586}" type="sibTrans" cxnId="{0E9B3187-CA10-4F27-A85C-9F8BB54FB40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FD80C39-271B-4D03-8431-0259FDBBFB26}">
      <dgm:prSet phldrT="[Text]" custT="1"/>
      <dgm:spPr>
        <a:xfrm>
          <a:off x="4783528" y="0"/>
          <a:ext cx="2654981" cy="702896"/>
        </a:xfrm>
        <a:prstGeom prst="chevron">
          <a:avLst/>
        </a:prstGeom>
        <a:solidFill>
          <a:srgbClr val="ADCDEC">
            <a:alpha val="90000"/>
            <a:hueOff val="0"/>
            <a:satOff val="0"/>
            <a:lumOff val="0"/>
            <a:alphaOff val="-26667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800" dirty="0">
              <a:solidFill>
                <a:srgbClr val="2D2D2A"/>
              </a:solidFill>
              <a:latin typeface="Calibri"/>
              <a:ea typeface="+mn-ea"/>
              <a:cs typeface="+mn-cs"/>
            </a:rPr>
            <a:t>Develop</a:t>
          </a:r>
        </a:p>
      </dgm:t>
    </dgm:pt>
    <dgm:pt modelId="{9956641C-89C8-4C1B-B641-29ECF450F740}" type="parTrans" cxnId="{112E0D2B-56F0-4BAC-9BB0-5303F1F8B13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6E40C42-AB9C-4E15-934A-1849E543819E}" type="sibTrans" cxnId="{112E0D2B-56F0-4BAC-9BB0-5303F1F8B13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3741F0C-0B48-4DC1-8AD8-7951F14408AD}">
      <dgm:prSet phldrT="[Text]" custT="1"/>
      <dgm:spPr>
        <a:xfrm>
          <a:off x="7173012" y="0"/>
          <a:ext cx="2654981" cy="702896"/>
        </a:xfrm>
        <a:prstGeom prst="chevron">
          <a:avLst/>
        </a:prstGeom>
        <a:solidFill>
          <a:srgbClr val="ADCDEC">
            <a:alpha val="90000"/>
            <a:hueOff val="0"/>
            <a:satOff val="0"/>
            <a:lumOff val="0"/>
            <a:alphaOff val="-4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2800" dirty="0">
              <a:solidFill>
                <a:srgbClr val="2D2D2A"/>
              </a:solidFill>
              <a:latin typeface="Calibri"/>
              <a:ea typeface="+mn-ea"/>
              <a:cs typeface="+mn-cs"/>
            </a:rPr>
            <a:t>Deploy</a:t>
          </a:r>
        </a:p>
      </dgm:t>
    </dgm:pt>
    <dgm:pt modelId="{289E681E-D8DD-48B6-824C-A43E4E38C448}" type="parTrans" cxnId="{E31902FF-5532-4AFB-A9A6-AE2CA18151C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5214977-8C64-4A0B-A034-2FDEF8D57A4D}" type="sibTrans" cxnId="{E31902FF-5532-4AFB-A9A6-AE2CA18151C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E643749-2A14-412E-8FD8-5A3200E31A64}" type="pres">
      <dgm:prSet presAssocID="{9C943193-7581-4A30-8A1F-AD69D9DE26DF}" presName="Name0" presStyleCnt="0">
        <dgm:presLayoutVars>
          <dgm:dir/>
          <dgm:animLvl val="lvl"/>
          <dgm:resizeHandles val="exact"/>
        </dgm:presLayoutVars>
      </dgm:prSet>
      <dgm:spPr/>
    </dgm:pt>
    <dgm:pt modelId="{885ABDD7-9C08-47CD-B83B-EFA1869AB320}" type="pres">
      <dgm:prSet presAssocID="{3B820269-E346-46E6-9E83-9B148087FBB7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D5D7B178-B9DA-4596-AFA9-9D802EA17203}" type="pres">
      <dgm:prSet presAssocID="{32ED9E68-F44F-45D3-BBC3-278616E9E5F4}" presName="parTxOnlySpace" presStyleCnt="0"/>
      <dgm:spPr/>
    </dgm:pt>
    <dgm:pt modelId="{848E70AF-1CF9-433C-B540-79B1F23B459B}" type="pres">
      <dgm:prSet presAssocID="{36F4A74F-8710-4D4F-8EBB-F58EE5A33B2B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B7EEE78F-685F-4C2D-BC03-2CA1C14D925C}" type="pres">
      <dgm:prSet presAssocID="{02221034-7F39-474B-9FF2-084071EE7586}" presName="parTxOnlySpace" presStyleCnt="0"/>
      <dgm:spPr/>
    </dgm:pt>
    <dgm:pt modelId="{748F7E62-6B41-4048-B2DA-9CA079C47CFF}" type="pres">
      <dgm:prSet presAssocID="{3FD80C39-271B-4D03-8431-0259FDBBFB26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1D7F4DA-3096-49B1-B5F7-92C4D6E92EE4}" type="pres">
      <dgm:prSet presAssocID="{E6E40C42-AB9C-4E15-934A-1849E543819E}" presName="parTxOnlySpace" presStyleCnt="0"/>
      <dgm:spPr/>
    </dgm:pt>
    <dgm:pt modelId="{655FC380-C13F-46A4-8DF6-530D2C89E23E}" type="pres">
      <dgm:prSet presAssocID="{23741F0C-0B48-4DC1-8AD8-7951F14408AD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3B8B5205-C8DE-4580-A746-AA1A5990B405}" type="presOf" srcId="{23741F0C-0B48-4DC1-8AD8-7951F14408AD}" destId="{655FC380-C13F-46A4-8DF6-530D2C89E23E}" srcOrd="0" destOrd="0" presId="urn:microsoft.com/office/officeart/2005/8/layout/chevron1"/>
    <dgm:cxn modelId="{1F71F620-EC80-4FFB-ACA2-4C3DE07380B9}" type="presOf" srcId="{36F4A74F-8710-4D4F-8EBB-F58EE5A33B2B}" destId="{848E70AF-1CF9-433C-B540-79B1F23B459B}" srcOrd="0" destOrd="0" presId="urn:microsoft.com/office/officeart/2005/8/layout/chevron1"/>
    <dgm:cxn modelId="{808BA627-791B-4399-A8BD-113E8BD8160A}" type="presOf" srcId="{9C943193-7581-4A30-8A1F-AD69D9DE26DF}" destId="{1E643749-2A14-412E-8FD8-5A3200E31A64}" srcOrd="0" destOrd="0" presId="urn:microsoft.com/office/officeart/2005/8/layout/chevron1"/>
    <dgm:cxn modelId="{112E0D2B-56F0-4BAC-9BB0-5303F1F8B13D}" srcId="{9C943193-7581-4A30-8A1F-AD69D9DE26DF}" destId="{3FD80C39-271B-4D03-8431-0259FDBBFB26}" srcOrd="2" destOrd="0" parTransId="{9956641C-89C8-4C1B-B641-29ECF450F740}" sibTransId="{E6E40C42-AB9C-4E15-934A-1849E543819E}"/>
    <dgm:cxn modelId="{E1F0945B-065F-4AFE-9D75-B40FF9A4A010}" type="presOf" srcId="{3FD80C39-271B-4D03-8431-0259FDBBFB26}" destId="{748F7E62-6B41-4048-B2DA-9CA079C47CFF}" srcOrd="0" destOrd="0" presId="urn:microsoft.com/office/officeart/2005/8/layout/chevron1"/>
    <dgm:cxn modelId="{0E9B3187-CA10-4F27-A85C-9F8BB54FB405}" srcId="{9C943193-7581-4A30-8A1F-AD69D9DE26DF}" destId="{36F4A74F-8710-4D4F-8EBB-F58EE5A33B2B}" srcOrd="1" destOrd="0" parTransId="{1E969626-7636-49D1-8DDB-99BA9D38B9C8}" sibTransId="{02221034-7F39-474B-9FF2-084071EE7586}"/>
    <dgm:cxn modelId="{2466B88B-9BC4-4BDF-A676-0A336DE4687F}" type="presOf" srcId="{3B820269-E346-46E6-9E83-9B148087FBB7}" destId="{885ABDD7-9C08-47CD-B83B-EFA1869AB320}" srcOrd="0" destOrd="0" presId="urn:microsoft.com/office/officeart/2005/8/layout/chevron1"/>
    <dgm:cxn modelId="{60B21AD7-EEC4-4CB6-9B9F-B9C5D0023F94}" srcId="{9C943193-7581-4A30-8A1F-AD69D9DE26DF}" destId="{3B820269-E346-46E6-9E83-9B148087FBB7}" srcOrd="0" destOrd="0" parTransId="{3D00AC4D-1FEB-4F7A-8142-39178C99AC82}" sibTransId="{32ED9E68-F44F-45D3-BBC3-278616E9E5F4}"/>
    <dgm:cxn modelId="{E31902FF-5532-4AFB-A9A6-AE2CA18151C3}" srcId="{9C943193-7581-4A30-8A1F-AD69D9DE26DF}" destId="{23741F0C-0B48-4DC1-8AD8-7951F14408AD}" srcOrd="3" destOrd="0" parTransId="{289E681E-D8DD-48B6-824C-A43E4E38C448}" sibTransId="{85214977-8C64-4A0B-A034-2FDEF8D57A4D}"/>
    <dgm:cxn modelId="{862C19FB-965C-4C5D-B4FA-91CA8664CD54}" type="presParOf" srcId="{1E643749-2A14-412E-8FD8-5A3200E31A64}" destId="{885ABDD7-9C08-47CD-B83B-EFA1869AB320}" srcOrd="0" destOrd="0" presId="urn:microsoft.com/office/officeart/2005/8/layout/chevron1"/>
    <dgm:cxn modelId="{5748BF7F-FA4C-4154-85A9-18F6D082A4B8}" type="presParOf" srcId="{1E643749-2A14-412E-8FD8-5A3200E31A64}" destId="{D5D7B178-B9DA-4596-AFA9-9D802EA17203}" srcOrd="1" destOrd="0" presId="urn:microsoft.com/office/officeart/2005/8/layout/chevron1"/>
    <dgm:cxn modelId="{81A04A66-098D-43B6-9973-99DDD24DED22}" type="presParOf" srcId="{1E643749-2A14-412E-8FD8-5A3200E31A64}" destId="{848E70AF-1CF9-433C-B540-79B1F23B459B}" srcOrd="2" destOrd="0" presId="urn:microsoft.com/office/officeart/2005/8/layout/chevron1"/>
    <dgm:cxn modelId="{28F294CD-3C50-47DB-B7C5-C9C8850C347B}" type="presParOf" srcId="{1E643749-2A14-412E-8FD8-5A3200E31A64}" destId="{B7EEE78F-685F-4C2D-BC03-2CA1C14D925C}" srcOrd="3" destOrd="0" presId="urn:microsoft.com/office/officeart/2005/8/layout/chevron1"/>
    <dgm:cxn modelId="{E9A1A064-7B3F-477F-9509-68081BBFE9D6}" type="presParOf" srcId="{1E643749-2A14-412E-8FD8-5A3200E31A64}" destId="{748F7E62-6B41-4048-B2DA-9CA079C47CFF}" srcOrd="4" destOrd="0" presId="urn:microsoft.com/office/officeart/2005/8/layout/chevron1"/>
    <dgm:cxn modelId="{74A30126-29E8-411E-BF0C-578F7A5AF667}" type="presParOf" srcId="{1E643749-2A14-412E-8FD8-5A3200E31A64}" destId="{91D7F4DA-3096-49B1-B5F7-92C4D6E92EE4}" srcOrd="5" destOrd="0" presId="urn:microsoft.com/office/officeart/2005/8/layout/chevron1"/>
    <dgm:cxn modelId="{E1A09CB4-AB69-488F-91D9-13899B645978}" type="presParOf" srcId="{1E643749-2A14-412E-8FD8-5A3200E31A64}" destId="{655FC380-C13F-46A4-8DF6-530D2C89E23E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041CAA0-283A-497F-AAF9-C6810815575A}" type="doc">
      <dgm:prSet loTypeId="urn:microsoft.com/office/officeart/2005/8/layout/bProcess3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9386C5F6-344D-4103-93A5-E9ADF9DB7350}">
      <dgm:prSet phldrT="[Text]" custT="1"/>
      <dgm:spPr/>
      <dgm:t>
        <a:bodyPr anchor="t"/>
        <a:lstStyle/>
        <a:p>
          <a:pPr algn="ctr"/>
          <a:r>
            <a:rPr lang="en-US" sz="1400" dirty="0">
              <a:latin typeface="+mn-lt"/>
            </a:rPr>
            <a:t>1. Identify the list of pages to be published</a:t>
          </a:r>
        </a:p>
      </dgm:t>
    </dgm:pt>
    <dgm:pt modelId="{368113BB-5B53-4717-8935-05810555AF3C}" type="parTrans" cxnId="{831A6F04-2044-4F80-9C99-5357E1154EB7}">
      <dgm:prSet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3F39D9A6-C9AA-459B-B6B1-1BBA1580EDFA}" type="sibTrans" cxnId="{831A6F04-2044-4F80-9C99-5357E1154EB7}">
      <dgm:prSet custT="1"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C31CBBF1-C542-4BF5-8CD5-EB9B54A01461}">
      <dgm:prSet phldrT="[Text]" custT="1"/>
      <dgm:spPr/>
      <dgm:t>
        <a:bodyPr anchor="t"/>
        <a:lstStyle/>
        <a:p>
          <a:pPr algn="ctr"/>
          <a:r>
            <a:rPr lang="en-US" sz="1400" dirty="0">
              <a:latin typeface="+mn-lt"/>
            </a:rPr>
            <a:t>2. </a:t>
          </a:r>
          <a:r>
            <a:rPr lang="en-GB" sz="14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Create ‘Launch’ version for the content to be published </a:t>
          </a:r>
          <a:endParaRPr lang="en-US" sz="1400" dirty="0">
            <a:latin typeface="+mn-lt"/>
          </a:endParaRPr>
        </a:p>
      </dgm:t>
    </dgm:pt>
    <dgm:pt modelId="{2BAE3D46-3AF0-4384-AAA0-F52344EF8352}" type="parTrans" cxnId="{9F48B34F-6967-4844-A6A4-4A8908D30012}">
      <dgm:prSet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53C74204-9F98-4903-AD1B-E3968172A4F5}" type="sibTrans" cxnId="{9F48B34F-6967-4844-A6A4-4A8908D30012}">
      <dgm:prSet custT="1"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605366FF-6397-4189-998B-15854C8246AE}">
      <dgm:prSet phldrT="[Text]" custT="1"/>
      <dgm:spPr/>
      <dgm:t>
        <a:bodyPr anchor="t"/>
        <a:lstStyle/>
        <a:p>
          <a:pPr algn="ctr"/>
          <a:r>
            <a:rPr lang="en-GB" sz="14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3. Edit content, Analytics variables and Targeted personalisation </a:t>
          </a:r>
          <a:endParaRPr lang="en-US" sz="1400" dirty="0">
            <a:latin typeface="+mn-lt"/>
          </a:endParaRPr>
        </a:p>
      </dgm:t>
    </dgm:pt>
    <dgm:pt modelId="{934A2827-FC09-481C-AB63-138E36E2F260}" type="parTrans" cxnId="{0222F170-CA9F-47CE-A8BD-38A83E3C58F6}">
      <dgm:prSet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7DC2B0EF-EAC4-4BB2-9300-648E8B08BA68}" type="sibTrans" cxnId="{0222F170-CA9F-47CE-A8BD-38A83E3C58F6}">
      <dgm:prSet custT="1"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0587A4EE-9BF9-4C8E-AD43-96540B9C56ED}">
      <dgm:prSet phldrT="[Text]" custT="1"/>
      <dgm:spPr/>
      <dgm:t>
        <a:bodyPr anchor="t"/>
        <a:lstStyle/>
        <a:p>
          <a:pPr algn="ctr">
            <a:buFont typeface="Symbol" panose="05050102010706020507" pitchFamily="18" charset="2"/>
            <a:buNone/>
          </a:pPr>
          <a:r>
            <a:rPr lang="en-GB" sz="14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5. Verify Accuracy, Accessibility and Readability of content</a:t>
          </a:r>
          <a:endParaRPr lang="en-US" sz="1400" dirty="0">
            <a:latin typeface="+mn-lt"/>
          </a:endParaRPr>
        </a:p>
      </dgm:t>
    </dgm:pt>
    <dgm:pt modelId="{29B17CD1-F102-4DC0-A133-06F428832D89}" type="parTrans" cxnId="{AA9682FA-32FC-4C2C-9B29-5CE6B35E29B8}">
      <dgm:prSet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719DCB44-A9FF-444B-993E-CD3B1AE36D15}" type="sibTrans" cxnId="{AA9682FA-32FC-4C2C-9B29-5CE6B35E29B8}">
      <dgm:prSet custT="1"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2D816E8C-7746-4213-92F3-5322CFE62CE6}">
      <dgm:prSet phldrT="[Text]" custT="1"/>
      <dgm:spPr/>
      <dgm:t>
        <a:bodyPr anchor="t"/>
        <a:lstStyle/>
        <a:p>
          <a:pPr algn="ctr"/>
          <a:r>
            <a:rPr lang="en-GB" sz="14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7. Submit the Launch pages for review and approval by Aegon</a:t>
          </a:r>
          <a:endParaRPr lang="en-US" sz="1400" dirty="0">
            <a:latin typeface="+mn-lt"/>
            <a:ea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6F21F1D-7BAC-4120-B287-AB2180AF62B8}" type="parTrans" cxnId="{A5B5BC5E-C6E0-447C-A7BC-B56E3AD43F26}">
      <dgm:prSet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B0CCD631-F717-4B31-80FE-C3D9B4F82B83}" type="sibTrans" cxnId="{A5B5BC5E-C6E0-447C-A7BC-B56E3AD43F26}">
      <dgm:prSet custT="1"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C5556222-F2A8-46D5-B216-222508F814D0}">
      <dgm:prSet custT="1"/>
      <dgm:spPr/>
      <dgm:t>
        <a:bodyPr anchor="t"/>
        <a:lstStyle/>
        <a:p>
          <a:pPr algn="ctr"/>
          <a:r>
            <a:rPr lang="en-GB" sz="140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10. Publish approved ‘Launch’ pages to live environment.</a:t>
          </a:r>
          <a:endParaRPr lang="en-US" sz="1400" dirty="0">
            <a:latin typeface="+mn-lt"/>
          </a:endParaRPr>
        </a:p>
      </dgm:t>
    </dgm:pt>
    <dgm:pt modelId="{A3A78DB4-05AF-48B0-AE72-1044A1C6284F}" type="parTrans" cxnId="{6EE978BC-C4E5-4B01-BE58-55D41E7DB256}">
      <dgm:prSet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7FE94237-7569-4475-8070-87C3FFD29F90}" type="sibTrans" cxnId="{6EE978BC-C4E5-4B01-BE58-55D41E7DB256}">
      <dgm:prSet/>
      <dgm:spPr/>
      <dgm:t>
        <a:bodyPr/>
        <a:lstStyle/>
        <a:p>
          <a:endParaRPr lang="en-US" sz="1400">
            <a:solidFill>
              <a:schemeClr val="tx1"/>
            </a:solidFill>
            <a:latin typeface="+mn-lt"/>
          </a:endParaRPr>
        </a:p>
      </dgm:t>
    </dgm:pt>
    <dgm:pt modelId="{AEA6E95B-4F41-4EA6-A14D-8D448C5A916B}">
      <dgm:prSet phldrT="[Text]" custT="1"/>
      <dgm:spPr/>
      <dgm:t>
        <a:bodyPr anchor="t"/>
        <a:lstStyle/>
        <a:p>
          <a:pPr algn="ctr"/>
          <a:r>
            <a:rPr lang="en-GB" sz="14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4. Validate Sitemap, SEO, URL Redirects and Links</a:t>
          </a:r>
          <a:r>
            <a:rPr lang="en-US" sz="1400" dirty="0">
              <a:latin typeface="+mn-lt"/>
            </a:rPr>
            <a:t> </a:t>
          </a:r>
        </a:p>
      </dgm:t>
    </dgm:pt>
    <dgm:pt modelId="{8D5D7BF9-E029-405C-AE63-7E706982D963}" type="parTrans" cxnId="{CF2BEACF-65C0-4464-81D3-93236F9B8B7E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B96A023E-085F-46EF-8A23-8CEC56AC0E12}" type="sibTrans" cxnId="{CF2BEACF-65C0-4464-81D3-93236F9B8B7E}">
      <dgm:prSet custT="1"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9D4A4195-3F7E-4A4E-B9B3-18DC482F4AD0}">
      <dgm:prSet phldrT="[Text]" custT="1"/>
      <dgm:spPr/>
      <dgm:t>
        <a:bodyPr anchor="t"/>
        <a:lstStyle/>
        <a:p>
          <a:pPr algn="ctr"/>
          <a:r>
            <a:rPr lang="en-GB" sz="14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8. Get Aegon approval for publishing pages</a:t>
          </a:r>
          <a:endParaRPr lang="en-US" sz="1400" dirty="0">
            <a:latin typeface="+mn-lt"/>
            <a:ea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64C49EF-816E-4D3A-B7E0-16CE8629213B}" type="parTrans" cxnId="{7D75096C-B580-40B1-BED5-EB78A4B4804A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D6C45C69-A66D-4DD3-A23D-B6DF5446D036}" type="sibTrans" cxnId="{7D75096C-B580-40B1-BED5-EB78A4B4804A}">
      <dgm:prSet custT="1"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12CFC73A-C674-4DAD-9817-73B7EC227BBE}">
      <dgm:prSet phldrT="[Text]" custT="1"/>
      <dgm:spPr/>
      <dgm:t>
        <a:bodyPr anchor="t"/>
        <a:lstStyle/>
        <a:p>
          <a:pPr algn="ctr"/>
          <a:r>
            <a:rPr lang="en-US" sz="140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6. Create ‘Launch’ version for the set of pages to be published</a:t>
          </a:r>
          <a:endParaRPr lang="en-US" sz="1400" dirty="0">
            <a:latin typeface="+mn-lt"/>
            <a:ea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4A78AAF-EAB4-445A-9BE1-25DB0CB920AD}" type="parTrans" cxnId="{094DC984-7F84-47F1-9A84-DA50C97FCC26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5E86FCC2-888D-494D-86A5-3CBD95EE074C}" type="sibTrans" cxnId="{094DC984-7F84-47F1-9A84-DA50C97FCC26}">
      <dgm:prSet custT="1"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66ACDBE4-CC0A-4331-B4CE-F8E21B6B2707}">
      <dgm:prSet custT="1"/>
      <dgm:spPr/>
      <dgm:t>
        <a:bodyPr anchor="t"/>
        <a:lstStyle/>
        <a:p>
          <a:pPr algn="ctr"/>
          <a:r>
            <a:rPr lang="en-US" sz="1400" dirty="0">
              <a:latin typeface="+mn-lt"/>
            </a:rPr>
            <a:t>9. Aegon Change Control process for publishing the launch pages.</a:t>
          </a:r>
        </a:p>
      </dgm:t>
    </dgm:pt>
    <dgm:pt modelId="{C6367471-1493-47C2-A9DC-18A0E1CA25DF}" type="parTrans" cxnId="{BE4AFD00-9C4B-44AE-9B0E-2D1F8D7022B4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35FF0CB8-B751-4370-B3BC-ABE01F66495A}" type="sibTrans" cxnId="{BE4AFD00-9C4B-44AE-9B0E-2D1F8D7022B4}">
      <dgm:prSet custT="1"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0300C672-EE1D-4CA2-888D-EFA2691F712C}" type="pres">
      <dgm:prSet presAssocID="{C041CAA0-283A-497F-AAF9-C6810815575A}" presName="Name0" presStyleCnt="0">
        <dgm:presLayoutVars>
          <dgm:dir/>
          <dgm:resizeHandles val="exact"/>
        </dgm:presLayoutVars>
      </dgm:prSet>
      <dgm:spPr/>
    </dgm:pt>
    <dgm:pt modelId="{71C8B2CA-A26B-4C15-9DE2-526985098770}" type="pres">
      <dgm:prSet presAssocID="{9386C5F6-344D-4103-93A5-E9ADF9DB7350}" presName="node" presStyleLbl="node1" presStyleIdx="0" presStyleCnt="10">
        <dgm:presLayoutVars>
          <dgm:bulletEnabled val="1"/>
        </dgm:presLayoutVars>
      </dgm:prSet>
      <dgm:spPr/>
    </dgm:pt>
    <dgm:pt modelId="{764D39AE-A105-4B6C-966A-3075F94449C0}" type="pres">
      <dgm:prSet presAssocID="{3F39D9A6-C9AA-459B-B6B1-1BBA1580EDFA}" presName="sibTrans" presStyleLbl="sibTrans1D1" presStyleIdx="0" presStyleCnt="9"/>
      <dgm:spPr/>
    </dgm:pt>
    <dgm:pt modelId="{8EF301B1-1FD6-4DF4-9979-AE1F51C105C3}" type="pres">
      <dgm:prSet presAssocID="{3F39D9A6-C9AA-459B-B6B1-1BBA1580EDFA}" presName="connectorText" presStyleLbl="sibTrans1D1" presStyleIdx="0" presStyleCnt="9"/>
      <dgm:spPr/>
    </dgm:pt>
    <dgm:pt modelId="{49AEA8B8-E57D-42EB-9A5D-FBA780B836CC}" type="pres">
      <dgm:prSet presAssocID="{C31CBBF1-C542-4BF5-8CD5-EB9B54A01461}" presName="node" presStyleLbl="node1" presStyleIdx="1" presStyleCnt="10">
        <dgm:presLayoutVars>
          <dgm:bulletEnabled val="1"/>
        </dgm:presLayoutVars>
      </dgm:prSet>
      <dgm:spPr/>
    </dgm:pt>
    <dgm:pt modelId="{A611A293-2FA3-41CA-918F-8DCA973FAE2C}" type="pres">
      <dgm:prSet presAssocID="{53C74204-9F98-4903-AD1B-E3968172A4F5}" presName="sibTrans" presStyleLbl="sibTrans1D1" presStyleIdx="1" presStyleCnt="9"/>
      <dgm:spPr/>
    </dgm:pt>
    <dgm:pt modelId="{A0E7E4F7-C781-4DEA-AEAF-F20E63D26EA4}" type="pres">
      <dgm:prSet presAssocID="{53C74204-9F98-4903-AD1B-E3968172A4F5}" presName="connectorText" presStyleLbl="sibTrans1D1" presStyleIdx="1" presStyleCnt="9"/>
      <dgm:spPr/>
    </dgm:pt>
    <dgm:pt modelId="{7A9E2951-21F4-4E55-9797-75E0C15D670A}" type="pres">
      <dgm:prSet presAssocID="{605366FF-6397-4189-998B-15854C8246AE}" presName="node" presStyleLbl="node1" presStyleIdx="2" presStyleCnt="10">
        <dgm:presLayoutVars>
          <dgm:bulletEnabled val="1"/>
        </dgm:presLayoutVars>
      </dgm:prSet>
      <dgm:spPr/>
    </dgm:pt>
    <dgm:pt modelId="{3128BE38-69DA-4F23-B1AF-0DE6914FED53}" type="pres">
      <dgm:prSet presAssocID="{7DC2B0EF-EAC4-4BB2-9300-648E8B08BA68}" presName="sibTrans" presStyleLbl="sibTrans1D1" presStyleIdx="2" presStyleCnt="9"/>
      <dgm:spPr/>
    </dgm:pt>
    <dgm:pt modelId="{D3A85761-9169-4596-9296-334047372DED}" type="pres">
      <dgm:prSet presAssocID="{7DC2B0EF-EAC4-4BB2-9300-648E8B08BA68}" presName="connectorText" presStyleLbl="sibTrans1D1" presStyleIdx="2" presStyleCnt="9"/>
      <dgm:spPr/>
    </dgm:pt>
    <dgm:pt modelId="{CAD938F3-47A3-457C-BBE9-7BF5C38FCF19}" type="pres">
      <dgm:prSet presAssocID="{AEA6E95B-4F41-4EA6-A14D-8D448C5A916B}" presName="node" presStyleLbl="node1" presStyleIdx="3" presStyleCnt="10">
        <dgm:presLayoutVars>
          <dgm:bulletEnabled val="1"/>
        </dgm:presLayoutVars>
      </dgm:prSet>
      <dgm:spPr/>
    </dgm:pt>
    <dgm:pt modelId="{07579081-296A-4CC6-AC22-FFF6E7F057C5}" type="pres">
      <dgm:prSet presAssocID="{B96A023E-085F-46EF-8A23-8CEC56AC0E12}" presName="sibTrans" presStyleLbl="sibTrans1D1" presStyleIdx="3" presStyleCnt="9"/>
      <dgm:spPr/>
    </dgm:pt>
    <dgm:pt modelId="{4AAE05AB-7419-42D7-8876-02CEC22E37F2}" type="pres">
      <dgm:prSet presAssocID="{B96A023E-085F-46EF-8A23-8CEC56AC0E12}" presName="connectorText" presStyleLbl="sibTrans1D1" presStyleIdx="3" presStyleCnt="9"/>
      <dgm:spPr/>
    </dgm:pt>
    <dgm:pt modelId="{5409B485-AE23-4BD0-B032-EBA128984964}" type="pres">
      <dgm:prSet presAssocID="{0587A4EE-9BF9-4C8E-AD43-96540B9C56ED}" presName="node" presStyleLbl="node1" presStyleIdx="4" presStyleCnt="10">
        <dgm:presLayoutVars>
          <dgm:bulletEnabled val="1"/>
        </dgm:presLayoutVars>
      </dgm:prSet>
      <dgm:spPr/>
    </dgm:pt>
    <dgm:pt modelId="{13C3E1F3-594A-4215-B709-6500D370E4A9}" type="pres">
      <dgm:prSet presAssocID="{719DCB44-A9FF-444B-993E-CD3B1AE36D15}" presName="sibTrans" presStyleLbl="sibTrans1D1" presStyleIdx="4" presStyleCnt="9"/>
      <dgm:spPr/>
    </dgm:pt>
    <dgm:pt modelId="{BE53BD45-221E-453A-BF07-53C99A06E453}" type="pres">
      <dgm:prSet presAssocID="{719DCB44-A9FF-444B-993E-CD3B1AE36D15}" presName="connectorText" presStyleLbl="sibTrans1D1" presStyleIdx="4" presStyleCnt="9"/>
      <dgm:spPr/>
    </dgm:pt>
    <dgm:pt modelId="{4507D26B-7BBB-4E83-94D1-38ECA67CA06D}" type="pres">
      <dgm:prSet presAssocID="{12CFC73A-C674-4DAD-9817-73B7EC227BBE}" presName="node" presStyleLbl="node1" presStyleIdx="5" presStyleCnt="10">
        <dgm:presLayoutVars>
          <dgm:bulletEnabled val="1"/>
        </dgm:presLayoutVars>
      </dgm:prSet>
      <dgm:spPr/>
    </dgm:pt>
    <dgm:pt modelId="{CD50A901-88F7-4BAF-A55D-4C6AFD1186C9}" type="pres">
      <dgm:prSet presAssocID="{5E86FCC2-888D-494D-86A5-3CBD95EE074C}" presName="sibTrans" presStyleLbl="sibTrans1D1" presStyleIdx="5" presStyleCnt="9"/>
      <dgm:spPr/>
    </dgm:pt>
    <dgm:pt modelId="{4E5BC376-32DE-4CC4-8D7F-8397D300F414}" type="pres">
      <dgm:prSet presAssocID="{5E86FCC2-888D-494D-86A5-3CBD95EE074C}" presName="connectorText" presStyleLbl="sibTrans1D1" presStyleIdx="5" presStyleCnt="9"/>
      <dgm:spPr/>
    </dgm:pt>
    <dgm:pt modelId="{3161706E-F657-45F5-A8F7-F8AE8F9850AD}" type="pres">
      <dgm:prSet presAssocID="{2D816E8C-7746-4213-92F3-5322CFE62CE6}" presName="node" presStyleLbl="node1" presStyleIdx="6" presStyleCnt="10">
        <dgm:presLayoutVars>
          <dgm:bulletEnabled val="1"/>
        </dgm:presLayoutVars>
      </dgm:prSet>
      <dgm:spPr/>
    </dgm:pt>
    <dgm:pt modelId="{54A04729-EA4E-4B7D-A8FD-99BA4B02F657}" type="pres">
      <dgm:prSet presAssocID="{B0CCD631-F717-4B31-80FE-C3D9B4F82B83}" presName="sibTrans" presStyleLbl="sibTrans1D1" presStyleIdx="6" presStyleCnt="9"/>
      <dgm:spPr/>
    </dgm:pt>
    <dgm:pt modelId="{C7EB7336-DE7E-4077-A21C-9F41F5BABEAE}" type="pres">
      <dgm:prSet presAssocID="{B0CCD631-F717-4B31-80FE-C3D9B4F82B83}" presName="connectorText" presStyleLbl="sibTrans1D1" presStyleIdx="6" presStyleCnt="9"/>
      <dgm:spPr/>
    </dgm:pt>
    <dgm:pt modelId="{FB610BBA-1C78-406C-AD17-D3248450001E}" type="pres">
      <dgm:prSet presAssocID="{9D4A4195-3F7E-4A4E-B9B3-18DC482F4AD0}" presName="node" presStyleLbl="node1" presStyleIdx="7" presStyleCnt="10">
        <dgm:presLayoutVars>
          <dgm:bulletEnabled val="1"/>
        </dgm:presLayoutVars>
      </dgm:prSet>
      <dgm:spPr/>
    </dgm:pt>
    <dgm:pt modelId="{8160E96D-3869-4204-AFC7-B92A7CF8ADBD}" type="pres">
      <dgm:prSet presAssocID="{D6C45C69-A66D-4DD3-A23D-B6DF5446D036}" presName="sibTrans" presStyleLbl="sibTrans1D1" presStyleIdx="7" presStyleCnt="9"/>
      <dgm:spPr/>
    </dgm:pt>
    <dgm:pt modelId="{D04C161A-D6B6-43B8-958F-580A5CA27AA0}" type="pres">
      <dgm:prSet presAssocID="{D6C45C69-A66D-4DD3-A23D-B6DF5446D036}" presName="connectorText" presStyleLbl="sibTrans1D1" presStyleIdx="7" presStyleCnt="9"/>
      <dgm:spPr/>
    </dgm:pt>
    <dgm:pt modelId="{5FD547D5-4313-4E8E-93B9-8A847D22A137}" type="pres">
      <dgm:prSet presAssocID="{66ACDBE4-CC0A-4331-B4CE-F8E21B6B2707}" presName="node" presStyleLbl="node1" presStyleIdx="8" presStyleCnt="10">
        <dgm:presLayoutVars>
          <dgm:bulletEnabled val="1"/>
        </dgm:presLayoutVars>
      </dgm:prSet>
      <dgm:spPr/>
    </dgm:pt>
    <dgm:pt modelId="{82ED6CDE-BF60-42F9-8C18-4055BC039346}" type="pres">
      <dgm:prSet presAssocID="{35FF0CB8-B751-4370-B3BC-ABE01F66495A}" presName="sibTrans" presStyleLbl="sibTrans1D1" presStyleIdx="8" presStyleCnt="9"/>
      <dgm:spPr/>
    </dgm:pt>
    <dgm:pt modelId="{6C2A0CC0-86E7-4C3D-82CE-1A0286EE99AF}" type="pres">
      <dgm:prSet presAssocID="{35FF0CB8-B751-4370-B3BC-ABE01F66495A}" presName="connectorText" presStyleLbl="sibTrans1D1" presStyleIdx="8" presStyleCnt="9"/>
      <dgm:spPr/>
    </dgm:pt>
    <dgm:pt modelId="{A0500AF7-4CF0-450A-A415-A9735E7332D1}" type="pres">
      <dgm:prSet presAssocID="{C5556222-F2A8-46D5-B216-222508F814D0}" presName="node" presStyleLbl="node1" presStyleIdx="9" presStyleCnt="10">
        <dgm:presLayoutVars>
          <dgm:bulletEnabled val="1"/>
        </dgm:presLayoutVars>
      </dgm:prSet>
      <dgm:spPr/>
    </dgm:pt>
  </dgm:ptLst>
  <dgm:cxnLst>
    <dgm:cxn modelId="{BE4AFD00-9C4B-44AE-9B0E-2D1F8D7022B4}" srcId="{C041CAA0-283A-497F-AAF9-C6810815575A}" destId="{66ACDBE4-CC0A-4331-B4CE-F8E21B6B2707}" srcOrd="8" destOrd="0" parTransId="{C6367471-1493-47C2-A9DC-18A0E1CA25DF}" sibTransId="{35FF0CB8-B751-4370-B3BC-ABE01F66495A}"/>
    <dgm:cxn modelId="{831A6F04-2044-4F80-9C99-5357E1154EB7}" srcId="{C041CAA0-283A-497F-AAF9-C6810815575A}" destId="{9386C5F6-344D-4103-93A5-E9ADF9DB7350}" srcOrd="0" destOrd="0" parTransId="{368113BB-5B53-4717-8935-05810555AF3C}" sibTransId="{3F39D9A6-C9AA-459B-B6B1-1BBA1580EDFA}"/>
    <dgm:cxn modelId="{20F78D04-4076-4707-AFDC-EA5338BEC60E}" type="presOf" srcId="{5E86FCC2-888D-494D-86A5-3CBD95EE074C}" destId="{4E5BC376-32DE-4CC4-8D7F-8397D300F414}" srcOrd="1" destOrd="0" presId="urn:microsoft.com/office/officeart/2005/8/layout/bProcess3"/>
    <dgm:cxn modelId="{A886330F-6E7C-4F3C-A939-B6A193698289}" type="presOf" srcId="{C041CAA0-283A-497F-AAF9-C6810815575A}" destId="{0300C672-EE1D-4CA2-888D-EFA2691F712C}" srcOrd="0" destOrd="0" presId="urn:microsoft.com/office/officeart/2005/8/layout/bProcess3"/>
    <dgm:cxn modelId="{1647EB13-814F-4E75-93FF-94B5ED638CEB}" type="presOf" srcId="{9386C5F6-344D-4103-93A5-E9ADF9DB7350}" destId="{71C8B2CA-A26B-4C15-9DE2-526985098770}" srcOrd="0" destOrd="0" presId="urn:microsoft.com/office/officeart/2005/8/layout/bProcess3"/>
    <dgm:cxn modelId="{26396B21-B419-476A-946A-68AE0E76FA32}" type="presOf" srcId="{C5556222-F2A8-46D5-B216-222508F814D0}" destId="{A0500AF7-4CF0-450A-A415-A9735E7332D1}" srcOrd="0" destOrd="0" presId="urn:microsoft.com/office/officeart/2005/8/layout/bProcess3"/>
    <dgm:cxn modelId="{48738425-61B0-46A2-B23F-8D26BFEA71DB}" type="presOf" srcId="{B96A023E-085F-46EF-8A23-8CEC56AC0E12}" destId="{4AAE05AB-7419-42D7-8876-02CEC22E37F2}" srcOrd="1" destOrd="0" presId="urn:microsoft.com/office/officeart/2005/8/layout/bProcess3"/>
    <dgm:cxn modelId="{3925B828-3028-471D-BFB7-2EEACCB68D7C}" type="presOf" srcId="{0587A4EE-9BF9-4C8E-AD43-96540B9C56ED}" destId="{5409B485-AE23-4BD0-B032-EBA128984964}" srcOrd="0" destOrd="0" presId="urn:microsoft.com/office/officeart/2005/8/layout/bProcess3"/>
    <dgm:cxn modelId="{69D5EF2C-7FF3-4869-93BC-4D29BDFA4B66}" type="presOf" srcId="{D6C45C69-A66D-4DD3-A23D-B6DF5446D036}" destId="{D04C161A-D6B6-43B8-958F-580A5CA27AA0}" srcOrd="1" destOrd="0" presId="urn:microsoft.com/office/officeart/2005/8/layout/bProcess3"/>
    <dgm:cxn modelId="{D8B3A93C-CD1A-4890-BC09-14C6595E2986}" type="presOf" srcId="{719DCB44-A9FF-444B-993E-CD3B1AE36D15}" destId="{13C3E1F3-594A-4215-B709-6500D370E4A9}" srcOrd="0" destOrd="0" presId="urn:microsoft.com/office/officeart/2005/8/layout/bProcess3"/>
    <dgm:cxn modelId="{A33EF23C-9B67-4953-B179-5F28C7A28C7C}" type="presOf" srcId="{B0CCD631-F717-4B31-80FE-C3D9B4F82B83}" destId="{C7EB7336-DE7E-4077-A21C-9F41F5BABEAE}" srcOrd="1" destOrd="0" presId="urn:microsoft.com/office/officeart/2005/8/layout/bProcess3"/>
    <dgm:cxn modelId="{A74BEA3F-9CB3-47C2-ABA2-87CCBC806858}" type="presOf" srcId="{3F39D9A6-C9AA-459B-B6B1-1BBA1580EDFA}" destId="{8EF301B1-1FD6-4DF4-9979-AE1F51C105C3}" srcOrd="1" destOrd="0" presId="urn:microsoft.com/office/officeart/2005/8/layout/bProcess3"/>
    <dgm:cxn modelId="{A5B5BC5E-C6E0-447C-A7BC-B56E3AD43F26}" srcId="{C041CAA0-283A-497F-AAF9-C6810815575A}" destId="{2D816E8C-7746-4213-92F3-5322CFE62CE6}" srcOrd="6" destOrd="0" parTransId="{46F21F1D-7BAC-4120-B287-AB2180AF62B8}" sibTransId="{B0CCD631-F717-4B31-80FE-C3D9B4F82B83}"/>
    <dgm:cxn modelId="{7D75096C-B580-40B1-BED5-EB78A4B4804A}" srcId="{C041CAA0-283A-497F-AAF9-C6810815575A}" destId="{9D4A4195-3F7E-4A4E-B9B3-18DC482F4AD0}" srcOrd="7" destOrd="0" parTransId="{764C49EF-816E-4D3A-B7E0-16CE8629213B}" sibTransId="{D6C45C69-A66D-4DD3-A23D-B6DF5446D036}"/>
    <dgm:cxn modelId="{2574FC6E-30B2-4AAE-BA9B-32E4847F30EA}" type="presOf" srcId="{C31CBBF1-C542-4BF5-8CD5-EB9B54A01461}" destId="{49AEA8B8-E57D-42EB-9A5D-FBA780B836CC}" srcOrd="0" destOrd="0" presId="urn:microsoft.com/office/officeart/2005/8/layout/bProcess3"/>
    <dgm:cxn modelId="{9F48B34F-6967-4844-A6A4-4A8908D30012}" srcId="{C041CAA0-283A-497F-AAF9-C6810815575A}" destId="{C31CBBF1-C542-4BF5-8CD5-EB9B54A01461}" srcOrd="1" destOrd="0" parTransId="{2BAE3D46-3AF0-4384-AAA0-F52344EF8352}" sibTransId="{53C74204-9F98-4903-AD1B-E3968172A4F5}"/>
    <dgm:cxn modelId="{0222F170-CA9F-47CE-A8BD-38A83E3C58F6}" srcId="{C041CAA0-283A-497F-AAF9-C6810815575A}" destId="{605366FF-6397-4189-998B-15854C8246AE}" srcOrd="2" destOrd="0" parTransId="{934A2827-FC09-481C-AB63-138E36E2F260}" sibTransId="{7DC2B0EF-EAC4-4BB2-9300-648E8B08BA68}"/>
    <dgm:cxn modelId="{C9C6F259-4E81-4511-A797-094C3F112106}" type="presOf" srcId="{B96A023E-085F-46EF-8A23-8CEC56AC0E12}" destId="{07579081-296A-4CC6-AC22-FFF6E7F057C5}" srcOrd="0" destOrd="0" presId="urn:microsoft.com/office/officeart/2005/8/layout/bProcess3"/>
    <dgm:cxn modelId="{094DC984-7F84-47F1-9A84-DA50C97FCC26}" srcId="{C041CAA0-283A-497F-AAF9-C6810815575A}" destId="{12CFC73A-C674-4DAD-9817-73B7EC227BBE}" srcOrd="5" destOrd="0" parTransId="{D4A78AAF-EAB4-445A-9BE1-25DB0CB920AD}" sibTransId="{5E86FCC2-888D-494D-86A5-3CBD95EE074C}"/>
    <dgm:cxn modelId="{E3259C8E-FE3B-4F8B-996E-D1B12C2A23FC}" type="presOf" srcId="{35FF0CB8-B751-4370-B3BC-ABE01F66495A}" destId="{82ED6CDE-BF60-42F9-8C18-4055BC039346}" srcOrd="0" destOrd="0" presId="urn:microsoft.com/office/officeart/2005/8/layout/bProcess3"/>
    <dgm:cxn modelId="{C120D59E-6E3C-49D5-8786-DD7F73BB0CAA}" type="presOf" srcId="{53C74204-9F98-4903-AD1B-E3968172A4F5}" destId="{A0E7E4F7-C781-4DEA-AEAF-F20E63D26EA4}" srcOrd="1" destOrd="0" presId="urn:microsoft.com/office/officeart/2005/8/layout/bProcess3"/>
    <dgm:cxn modelId="{907EB1A7-4B8A-4803-8D0B-6ED80E8A87F6}" type="presOf" srcId="{66ACDBE4-CC0A-4331-B4CE-F8E21B6B2707}" destId="{5FD547D5-4313-4E8E-93B9-8A847D22A137}" srcOrd="0" destOrd="0" presId="urn:microsoft.com/office/officeart/2005/8/layout/bProcess3"/>
    <dgm:cxn modelId="{7DDB59A9-10F1-45EB-9F16-45EF7FBA540B}" type="presOf" srcId="{D6C45C69-A66D-4DD3-A23D-B6DF5446D036}" destId="{8160E96D-3869-4204-AFC7-B92A7CF8ADBD}" srcOrd="0" destOrd="0" presId="urn:microsoft.com/office/officeart/2005/8/layout/bProcess3"/>
    <dgm:cxn modelId="{4E050DAE-2787-4FF3-B000-0C1604340412}" type="presOf" srcId="{3F39D9A6-C9AA-459B-B6B1-1BBA1580EDFA}" destId="{764D39AE-A105-4B6C-966A-3075F94449C0}" srcOrd="0" destOrd="0" presId="urn:microsoft.com/office/officeart/2005/8/layout/bProcess3"/>
    <dgm:cxn modelId="{FABC44B3-1FA3-4434-A2B0-8875FCAB0442}" type="presOf" srcId="{9D4A4195-3F7E-4A4E-B9B3-18DC482F4AD0}" destId="{FB610BBA-1C78-406C-AD17-D3248450001E}" srcOrd="0" destOrd="0" presId="urn:microsoft.com/office/officeart/2005/8/layout/bProcess3"/>
    <dgm:cxn modelId="{6EE978BC-C4E5-4B01-BE58-55D41E7DB256}" srcId="{C041CAA0-283A-497F-AAF9-C6810815575A}" destId="{C5556222-F2A8-46D5-B216-222508F814D0}" srcOrd="9" destOrd="0" parTransId="{A3A78DB4-05AF-48B0-AE72-1044A1C6284F}" sibTransId="{7FE94237-7569-4475-8070-87C3FFD29F90}"/>
    <dgm:cxn modelId="{62FE33CD-0D63-43CF-8D1D-59377FA34007}" type="presOf" srcId="{AEA6E95B-4F41-4EA6-A14D-8D448C5A916B}" destId="{CAD938F3-47A3-457C-BBE9-7BF5C38FCF19}" srcOrd="0" destOrd="0" presId="urn:microsoft.com/office/officeart/2005/8/layout/bProcess3"/>
    <dgm:cxn modelId="{CF2BEACF-65C0-4464-81D3-93236F9B8B7E}" srcId="{C041CAA0-283A-497F-AAF9-C6810815575A}" destId="{AEA6E95B-4F41-4EA6-A14D-8D448C5A916B}" srcOrd="3" destOrd="0" parTransId="{8D5D7BF9-E029-405C-AE63-7E706982D963}" sibTransId="{B96A023E-085F-46EF-8A23-8CEC56AC0E12}"/>
    <dgm:cxn modelId="{1AFFCDDC-B56A-40C3-9837-3FAFA7A60BAC}" type="presOf" srcId="{7DC2B0EF-EAC4-4BB2-9300-648E8B08BA68}" destId="{3128BE38-69DA-4F23-B1AF-0DE6914FED53}" srcOrd="0" destOrd="0" presId="urn:microsoft.com/office/officeart/2005/8/layout/bProcess3"/>
    <dgm:cxn modelId="{D217FBDE-ECD7-4FE0-A76E-2426C02F9E7A}" type="presOf" srcId="{5E86FCC2-888D-494D-86A5-3CBD95EE074C}" destId="{CD50A901-88F7-4BAF-A55D-4C6AFD1186C9}" srcOrd="0" destOrd="0" presId="urn:microsoft.com/office/officeart/2005/8/layout/bProcess3"/>
    <dgm:cxn modelId="{953766E4-6921-4D7E-A8C9-CDA046F345C3}" type="presOf" srcId="{35FF0CB8-B751-4370-B3BC-ABE01F66495A}" destId="{6C2A0CC0-86E7-4C3D-82CE-1A0286EE99AF}" srcOrd="1" destOrd="0" presId="urn:microsoft.com/office/officeart/2005/8/layout/bProcess3"/>
    <dgm:cxn modelId="{668241EB-EB20-498C-9315-B5E1675C9AB2}" type="presOf" srcId="{719DCB44-A9FF-444B-993E-CD3B1AE36D15}" destId="{BE53BD45-221E-453A-BF07-53C99A06E453}" srcOrd="1" destOrd="0" presId="urn:microsoft.com/office/officeart/2005/8/layout/bProcess3"/>
    <dgm:cxn modelId="{6A9322F0-FF0F-435D-9645-9050069989F6}" type="presOf" srcId="{B0CCD631-F717-4B31-80FE-C3D9B4F82B83}" destId="{54A04729-EA4E-4B7D-A8FD-99BA4B02F657}" srcOrd="0" destOrd="0" presId="urn:microsoft.com/office/officeart/2005/8/layout/bProcess3"/>
    <dgm:cxn modelId="{48C814F5-9458-48FC-8732-BB22C1D781CD}" type="presOf" srcId="{53C74204-9F98-4903-AD1B-E3968172A4F5}" destId="{A611A293-2FA3-41CA-918F-8DCA973FAE2C}" srcOrd="0" destOrd="0" presId="urn:microsoft.com/office/officeart/2005/8/layout/bProcess3"/>
    <dgm:cxn modelId="{242508F9-1F63-4AB0-9EA6-054E142E3C75}" type="presOf" srcId="{605366FF-6397-4189-998B-15854C8246AE}" destId="{7A9E2951-21F4-4E55-9797-75E0C15D670A}" srcOrd="0" destOrd="0" presId="urn:microsoft.com/office/officeart/2005/8/layout/bProcess3"/>
    <dgm:cxn modelId="{AA9682FA-32FC-4C2C-9B29-5CE6B35E29B8}" srcId="{C041CAA0-283A-497F-AAF9-C6810815575A}" destId="{0587A4EE-9BF9-4C8E-AD43-96540B9C56ED}" srcOrd="4" destOrd="0" parTransId="{29B17CD1-F102-4DC0-A133-06F428832D89}" sibTransId="{719DCB44-A9FF-444B-993E-CD3B1AE36D15}"/>
    <dgm:cxn modelId="{F6A900FB-7A48-4825-92B5-7819DA56B732}" type="presOf" srcId="{12CFC73A-C674-4DAD-9817-73B7EC227BBE}" destId="{4507D26B-7BBB-4E83-94D1-38ECA67CA06D}" srcOrd="0" destOrd="0" presId="urn:microsoft.com/office/officeart/2005/8/layout/bProcess3"/>
    <dgm:cxn modelId="{36C4F6FD-A80A-4A71-A440-CE3FDEB75EF4}" type="presOf" srcId="{7DC2B0EF-EAC4-4BB2-9300-648E8B08BA68}" destId="{D3A85761-9169-4596-9296-334047372DED}" srcOrd="1" destOrd="0" presId="urn:microsoft.com/office/officeart/2005/8/layout/bProcess3"/>
    <dgm:cxn modelId="{36FC2BFF-3D21-4F41-9F81-BE73DFD72998}" type="presOf" srcId="{2D816E8C-7746-4213-92F3-5322CFE62CE6}" destId="{3161706E-F657-45F5-A8F7-F8AE8F9850AD}" srcOrd="0" destOrd="0" presId="urn:microsoft.com/office/officeart/2005/8/layout/bProcess3"/>
    <dgm:cxn modelId="{F73083A0-8829-4F2E-A59D-D7266985076F}" type="presParOf" srcId="{0300C672-EE1D-4CA2-888D-EFA2691F712C}" destId="{71C8B2CA-A26B-4C15-9DE2-526985098770}" srcOrd="0" destOrd="0" presId="urn:microsoft.com/office/officeart/2005/8/layout/bProcess3"/>
    <dgm:cxn modelId="{8A1DF891-9E48-47DC-AE5F-5114F499D95C}" type="presParOf" srcId="{0300C672-EE1D-4CA2-888D-EFA2691F712C}" destId="{764D39AE-A105-4B6C-966A-3075F94449C0}" srcOrd="1" destOrd="0" presId="urn:microsoft.com/office/officeart/2005/8/layout/bProcess3"/>
    <dgm:cxn modelId="{955DF950-A364-4589-B98F-C5C1FE8AC443}" type="presParOf" srcId="{764D39AE-A105-4B6C-966A-3075F94449C0}" destId="{8EF301B1-1FD6-4DF4-9979-AE1F51C105C3}" srcOrd="0" destOrd="0" presId="urn:microsoft.com/office/officeart/2005/8/layout/bProcess3"/>
    <dgm:cxn modelId="{5E8C99B5-74AF-4102-94CE-B6B7164C6ED5}" type="presParOf" srcId="{0300C672-EE1D-4CA2-888D-EFA2691F712C}" destId="{49AEA8B8-E57D-42EB-9A5D-FBA780B836CC}" srcOrd="2" destOrd="0" presId="urn:microsoft.com/office/officeart/2005/8/layout/bProcess3"/>
    <dgm:cxn modelId="{8AB11A49-1B27-41C0-957E-823BA72BF779}" type="presParOf" srcId="{0300C672-EE1D-4CA2-888D-EFA2691F712C}" destId="{A611A293-2FA3-41CA-918F-8DCA973FAE2C}" srcOrd="3" destOrd="0" presId="urn:microsoft.com/office/officeart/2005/8/layout/bProcess3"/>
    <dgm:cxn modelId="{39921434-AD20-4F7E-8698-09A8087E333B}" type="presParOf" srcId="{A611A293-2FA3-41CA-918F-8DCA973FAE2C}" destId="{A0E7E4F7-C781-4DEA-AEAF-F20E63D26EA4}" srcOrd="0" destOrd="0" presId="urn:microsoft.com/office/officeart/2005/8/layout/bProcess3"/>
    <dgm:cxn modelId="{7DA901CE-C249-4D04-A2FF-07A6EC90C190}" type="presParOf" srcId="{0300C672-EE1D-4CA2-888D-EFA2691F712C}" destId="{7A9E2951-21F4-4E55-9797-75E0C15D670A}" srcOrd="4" destOrd="0" presId="urn:microsoft.com/office/officeart/2005/8/layout/bProcess3"/>
    <dgm:cxn modelId="{C40B893F-0A23-4C43-A9E2-31485086D5D0}" type="presParOf" srcId="{0300C672-EE1D-4CA2-888D-EFA2691F712C}" destId="{3128BE38-69DA-4F23-B1AF-0DE6914FED53}" srcOrd="5" destOrd="0" presId="urn:microsoft.com/office/officeart/2005/8/layout/bProcess3"/>
    <dgm:cxn modelId="{521BD353-762E-42C6-A23A-68E02EF7B088}" type="presParOf" srcId="{3128BE38-69DA-4F23-B1AF-0DE6914FED53}" destId="{D3A85761-9169-4596-9296-334047372DED}" srcOrd="0" destOrd="0" presId="urn:microsoft.com/office/officeart/2005/8/layout/bProcess3"/>
    <dgm:cxn modelId="{F4C010D9-A270-4031-AC7B-300DBF06DCE9}" type="presParOf" srcId="{0300C672-EE1D-4CA2-888D-EFA2691F712C}" destId="{CAD938F3-47A3-457C-BBE9-7BF5C38FCF19}" srcOrd="6" destOrd="0" presId="urn:microsoft.com/office/officeart/2005/8/layout/bProcess3"/>
    <dgm:cxn modelId="{E3C5E67C-A7D6-4419-AB08-E3040DD06B70}" type="presParOf" srcId="{0300C672-EE1D-4CA2-888D-EFA2691F712C}" destId="{07579081-296A-4CC6-AC22-FFF6E7F057C5}" srcOrd="7" destOrd="0" presId="urn:microsoft.com/office/officeart/2005/8/layout/bProcess3"/>
    <dgm:cxn modelId="{37B84BC9-9B5B-49DE-912F-B1C88E2C5F26}" type="presParOf" srcId="{07579081-296A-4CC6-AC22-FFF6E7F057C5}" destId="{4AAE05AB-7419-42D7-8876-02CEC22E37F2}" srcOrd="0" destOrd="0" presId="urn:microsoft.com/office/officeart/2005/8/layout/bProcess3"/>
    <dgm:cxn modelId="{4F887852-C77A-4182-A02A-BC6E0F3A5358}" type="presParOf" srcId="{0300C672-EE1D-4CA2-888D-EFA2691F712C}" destId="{5409B485-AE23-4BD0-B032-EBA128984964}" srcOrd="8" destOrd="0" presId="urn:microsoft.com/office/officeart/2005/8/layout/bProcess3"/>
    <dgm:cxn modelId="{324E712D-1507-4C50-9117-057E71FA9CA4}" type="presParOf" srcId="{0300C672-EE1D-4CA2-888D-EFA2691F712C}" destId="{13C3E1F3-594A-4215-B709-6500D370E4A9}" srcOrd="9" destOrd="0" presId="urn:microsoft.com/office/officeart/2005/8/layout/bProcess3"/>
    <dgm:cxn modelId="{EAD2D881-A546-4701-8527-4BFD973D5BFF}" type="presParOf" srcId="{13C3E1F3-594A-4215-B709-6500D370E4A9}" destId="{BE53BD45-221E-453A-BF07-53C99A06E453}" srcOrd="0" destOrd="0" presId="urn:microsoft.com/office/officeart/2005/8/layout/bProcess3"/>
    <dgm:cxn modelId="{9F8FB244-D793-41EA-A1DD-22AB0D948541}" type="presParOf" srcId="{0300C672-EE1D-4CA2-888D-EFA2691F712C}" destId="{4507D26B-7BBB-4E83-94D1-38ECA67CA06D}" srcOrd="10" destOrd="0" presId="urn:microsoft.com/office/officeart/2005/8/layout/bProcess3"/>
    <dgm:cxn modelId="{3FD89913-130A-4255-ABA5-76140EC1F31D}" type="presParOf" srcId="{0300C672-EE1D-4CA2-888D-EFA2691F712C}" destId="{CD50A901-88F7-4BAF-A55D-4C6AFD1186C9}" srcOrd="11" destOrd="0" presId="urn:microsoft.com/office/officeart/2005/8/layout/bProcess3"/>
    <dgm:cxn modelId="{79248081-AB15-4758-8086-B2D33AB3F85E}" type="presParOf" srcId="{CD50A901-88F7-4BAF-A55D-4C6AFD1186C9}" destId="{4E5BC376-32DE-4CC4-8D7F-8397D300F414}" srcOrd="0" destOrd="0" presId="urn:microsoft.com/office/officeart/2005/8/layout/bProcess3"/>
    <dgm:cxn modelId="{664B10E6-8CB8-45F8-88F8-DEB218D0A80A}" type="presParOf" srcId="{0300C672-EE1D-4CA2-888D-EFA2691F712C}" destId="{3161706E-F657-45F5-A8F7-F8AE8F9850AD}" srcOrd="12" destOrd="0" presId="urn:microsoft.com/office/officeart/2005/8/layout/bProcess3"/>
    <dgm:cxn modelId="{E6001704-3DAE-4008-83C9-959665D613DA}" type="presParOf" srcId="{0300C672-EE1D-4CA2-888D-EFA2691F712C}" destId="{54A04729-EA4E-4B7D-A8FD-99BA4B02F657}" srcOrd="13" destOrd="0" presId="urn:microsoft.com/office/officeart/2005/8/layout/bProcess3"/>
    <dgm:cxn modelId="{CB9C835F-A965-407E-AFB4-BFE0B91E72ED}" type="presParOf" srcId="{54A04729-EA4E-4B7D-A8FD-99BA4B02F657}" destId="{C7EB7336-DE7E-4077-A21C-9F41F5BABEAE}" srcOrd="0" destOrd="0" presId="urn:microsoft.com/office/officeart/2005/8/layout/bProcess3"/>
    <dgm:cxn modelId="{ADCC088F-5B53-45A3-8882-3C6A2FEE3C82}" type="presParOf" srcId="{0300C672-EE1D-4CA2-888D-EFA2691F712C}" destId="{FB610BBA-1C78-406C-AD17-D3248450001E}" srcOrd="14" destOrd="0" presId="urn:microsoft.com/office/officeart/2005/8/layout/bProcess3"/>
    <dgm:cxn modelId="{E717DD80-779B-44D5-AF90-F6BB8F02B15C}" type="presParOf" srcId="{0300C672-EE1D-4CA2-888D-EFA2691F712C}" destId="{8160E96D-3869-4204-AFC7-B92A7CF8ADBD}" srcOrd="15" destOrd="0" presId="urn:microsoft.com/office/officeart/2005/8/layout/bProcess3"/>
    <dgm:cxn modelId="{8FF06C58-F613-4825-AC39-62B043DCC7D0}" type="presParOf" srcId="{8160E96D-3869-4204-AFC7-B92A7CF8ADBD}" destId="{D04C161A-D6B6-43B8-958F-580A5CA27AA0}" srcOrd="0" destOrd="0" presId="urn:microsoft.com/office/officeart/2005/8/layout/bProcess3"/>
    <dgm:cxn modelId="{3AF7B477-EF0B-42C3-BC7B-E35F0FD34313}" type="presParOf" srcId="{0300C672-EE1D-4CA2-888D-EFA2691F712C}" destId="{5FD547D5-4313-4E8E-93B9-8A847D22A137}" srcOrd="16" destOrd="0" presId="urn:microsoft.com/office/officeart/2005/8/layout/bProcess3"/>
    <dgm:cxn modelId="{92231D4D-D677-4B1B-B710-ADBE37EE0552}" type="presParOf" srcId="{0300C672-EE1D-4CA2-888D-EFA2691F712C}" destId="{82ED6CDE-BF60-42F9-8C18-4055BC039346}" srcOrd="17" destOrd="0" presId="urn:microsoft.com/office/officeart/2005/8/layout/bProcess3"/>
    <dgm:cxn modelId="{F1D9CD86-39BB-4B34-8223-0365AE432237}" type="presParOf" srcId="{82ED6CDE-BF60-42F9-8C18-4055BC039346}" destId="{6C2A0CC0-86E7-4C3D-82CE-1A0286EE99AF}" srcOrd="0" destOrd="0" presId="urn:microsoft.com/office/officeart/2005/8/layout/bProcess3"/>
    <dgm:cxn modelId="{89F3909B-EAD8-47D6-B166-5D4E068C1D59}" type="presParOf" srcId="{0300C672-EE1D-4CA2-888D-EFA2691F712C}" destId="{A0500AF7-4CF0-450A-A415-A9735E7332D1}" srcOrd="18" destOrd="0" presId="urn:microsoft.com/office/officeart/2005/8/layout/bProcess3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114C86-F9AD-4CE4-AEE0-3D2846CCF52B}">
      <dsp:nvSpPr>
        <dsp:cNvPr id="0" name=""/>
        <dsp:cNvSpPr/>
      </dsp:nvSpPr>
      <dsp:spPr>
        <a:xfrm>
          <a:off x="4872" y="0"/>
          <a:ext cx="2232145" cy="217238"/>
        </a:xfrm>
        <a:prstGeom prst="chevron">
          <a:avLst/>
        </a:prstGeom>
        <a:solidFill>
          <a:srgbClr val="8348B5">
            <a:lumMod val="5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ysClr val="window" lastClr="FFFFFF"/>
              </a:solidFill>
              <a:latin typeface="Calibri" panose="020F0502020204030204" pitchFamily="34" charset="0"/>
              <a:ea typeface="+mn-ea"/>
              <a:cs typeface="+mn-cs"/>
            </a:rPr>
            <a:t>Discover</a:t>
          </a:r>
        </a:p>
      </dsp:txBody>
      <dsp:txXfrm>
        <a:off x="113491" y="0"/>
        <a:ext cx="2014907" cy="217238"/>
      </dsp:txXfrm>
    </dsp:sp>
    <dsp:sp modelId="{7CA66018-31D8-41B2-90CC-B42936EEAE5F}">
      <dsp:nvSpPr>
        <dsp:cNvPr id="0" name=""/>
        <dsp:cNvSpPr/>
      </dsp:nvSpPr>
      <dsp:spPr>
        <a:xfrm>
          <a:off x="2019446" y="-470"/>
          <a:ext cx="2175707" cy="218178"/>
        </a:xfrm>
        <a:prstGeom prst="chevron">
          <a:avLst/>
        </a:prstGeom>
        <a:solidFill>
          <a:srgbClr val="00A4E4">
            <a:lumMod val="40000"/>
            <a:lumOff val="6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ysClr val="windowText" lastClr="000000"/>
              </a:solidFill>
              <a:latin typeface="Calibri" panose="020F0502020204030204" pitchFamily="34" charset="0"/>
              <a:ea typeface="+mn-ea"/>
              <a:cs typeface="+mn-cs"/>
            </a:rPr>
            <a:t>Nurture</a:t>
          </a:r>
        </a:p>
      </dsp:txBody>
      <dsp:txXfrm>
        <a:off x="2128535" y="-470"/>
        <a:ext cx="1957529" cy="218178"/>
      </dsp:txXfrm>
    </dsp:sp>
    <dsp:sp modelId="{6A43D91A-2665-454D-BB80-4D4BDD014A29}">
      <dsp:nvSpPr>
        <dsp:cNvPr id="0" name=""/>
        <dsp:cNvSpPr/>
      </dsp:nvSpPr>
      <dsp:spPr>
        <a:xfrm>
          <a:off x="4020458" y="-470"/>
          <a:ext cx="2175707" cy="218178"/>
        </a:xfrm>
        <a:prstGeom prst="chevron">
          <a:avLst/>
        </a:prstGeom>
        <a:solidFill>
          <a:srgbClr val="C1D82F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ysClr val="windowText" lastClr="000000"/>
              </a:solidFill>
              <a:latin typeface="Calibri" panose="020F0502020204030204" pitchFamily="34" charset="0"/>
              <a:ea typeface="+mn-ea"/>
              <a:cs typeface="+mn-cs"/>
            </a:rPr>
            <a:t>Convert</a:t>
          </a:r>
        </a:p>
      </dsp:txBody>
      <dsp:txXfrm>
        <a:off x="4129547" y="-470"/>
        <a:ext cx="1957529" cy="218178"/>
      </dsp:txXfrm>
    </dsp:sp>
    <dsp:sp modelId="{1FD93ED9-7F11-479B-9F35-E4C098E2534A}">
      <dsp:nvSpPr>
        <dsp:cNvPr id="0" name=""/>
        <dsp:cNvSpPr/>
      </dsp:nvSpPr>
      <dsp:spPr>
        <a:xfrm>
          <a:off x="5940592" y="-470"/>
          <a:ext cx="2175707" cy="218178"/>
        </a:xfrm>
        <a:prstGeom prst="chevron">
          <a:avLst/>
        </a:prstGeom>
        <a:solidFill>
          <a:srgbClr val="FBB034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ysClr val="windowText" lastClr="000000"/>
              </a:solidFill>
              <a:latin typeface="Calibri" panose="020F0502020204030204" pitchFamily="34" charset="0"/>
              <a:ea typeface="+mn-ea"/>
              <a:cs typeface="+mn-cs"/>
            </a:rPr>
            <a:t>Engage</a:t>
          </a:r>
        </a:p>
      </dsp:txBody>
      <dsp:txXfrm>
        <a:off x="6049681" y="-470"/>
        <a:ext cx="1957529" cy="2181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5ABDD7-9C08-47CD-B83B-EFA1869AB320}">
      <dsp:nvSpPr>
        <dsp:cNvPr id="0" name=""/>
        <dsp:cNvSpPr/>
      </dsp:nvSpPr>
      <dsp:spPr>
        <a:xfrm>
          <a:off x="4560" y="0"/>
          <a:ext cx="2654981" cy="702896"/>
        </a:xfrm>
        <a:prstGeom prst="chevron">
          <a:avLst/>
        </a:prstGeom>
        <a:solidFill>
          <a:srgbClr val="ADCDEC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>
              <a:solidFill>
                <a:srgbClr val="2D2D2A"/>
              </a:solidFill>
              <a:latin typeface="Calibri"/>
              <a:ea typeface="+mn-ea"/>
              <a:cs typeface="+mn-cs"/>
            </a:rPr>
            <a:t>Discover</a:t>
          </a:r>
        </a:p>
      </dsp:txBody>
      <dsp:txXfrm>
        <a:off x="356008" y="0"/>
        <a:ext cx="1952085" cy="702896"/>
      </dsp:txXfrm>
    </dsp:sp>
    <dsp:sp modelId="{848E70AF-1CF9-433C-B540-79B1F23B459B}">
      <dsp:nvSpPr>
        <dsp:cNvPr id="0" name=""/>
        <dsp:cNvSpPr/>
      </dsp:nvSpPr>
      <dsp:spPr>
        <a:xfrm>
          <a:off x="2394044" y="0"/>
          <a:ext cx="2654981" cy="702896"/>
        </a:xfrm>
        <a:prstGeom prst="chevron">
          <a:avLst/>
        </a:prstGeom>
        <a:solidFill>
          <a:srgbClr val="ADCDEC">
            <a:alpha val="90000"/>
            <a:hueOff val="0"/>
            <a:satOff val="0"/>
            <a:lumOff val="0"/>
            <a:alphaOff val="-13333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>
              <a:solidFill>
                <a:srgbClr val="2D2D2A"/>
              </a:solidFill>
              <a:latin typeface="Calibri"/>
              <a:ea typeface="+mn-ea"/>
              <a:cs typeface="+mn-cs"/>
            </a:rPr>
            <a:t>Design</a:t>
          </a:r>
        </a:p>
      </dsp:txBody>
      <dsp:txXfrm>
        <a:off x="2745492" y="0"/>
        <a:ext cx="1952085" cy="702896"/>
      </dsp:txXfrm>
    </dsp:sp>
    <dsp:sp modelId="{748F7E62-6B41-4048-B2DA-9CA079C47CFF}">
      <dsp:nvSpPr>
        <dsp:cNvPr id="0" name=""/>
        <dsp:cNvSpPr/>
      </dsp:nvSpPr>
      <dsp:spPr>
        <a:xfrm>
          <a:off x="4783528" y="0"/>
          <a:ext cx="2654981" cy="702896"/>
        </a:xfrm>
        <a:prstGeom prst="chevron">
          <a:avLst/>
        </a:prstGeom>
        <a:solidFill>
          <a:srgbClr val="ADCDEC">
            <a:alpha val="90000"/>
            <a:hueOff val="0"/>
            <a:satOff val="0"/>
            <a:lumOff val="0"/>
            <a:alphaOff val="-26667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>
              <a:solidFill>
                <a:srgbClr val="2D2D2A"/>
              </a:solidFill>
              <a:latin typeface="Calibri"/>
              <a:ea typeface="+mn-ea"/>
              <a:cs typeface="+mn-cs"/>
            </a:rPr>
            <a:t>Develop</a:t>
          </a:r>
        </a:p>
      </dsp:txBody>
      <dsp:txXfrm>
        <a:off x="5134976" y="0"/>
        <a:ext cx="1952085" cy="702896"/>
      </dsp:txXfrm>
    </dsp:sp>
    <dsp:sp modelId="{655FC380-C13F-46A4-8DF6-530D2C89E23E}">
      <dsp:nvSpPr>
        <dsp:cNvPr id="0" name=""/>
        <dsp:cNvSpPr/>
      </dsp:nvSpPr>
      <dsp:spPr>
        <a:xfrm>
          <a:off x="7173012" y="0"/>
          <a:ext cx="2654981" cy="702896"/>
        </a:xfrm>
        <a:prstGeom prst="chevron">
          <a:avLst/>
        </a:prstGeom>
        <a:solidFill>
          <a:srgbClr val="ADCDEC">
            <a:alpha val="90000"/>
            <a:hueOff val="0"/>
            <a:satOff val="0"/>
            <a:lumOff val="0"/>
            <a:alphaOff val="-4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>
              <a:solidFill>
                <a:srgbClr val="2D2D2A"/>
              </a:solidFill>
              <a:latin typeface="Calibri"/>
              <a:ea typeface="+mn-ea"/>
              <a:cs typeface="+mn-cs"/>
            </a:rPr>
            <a:t>Deploy</a:t>
          </a:r>
        </a:p>
      </dsp:txBody>
      <dsp:txXfrm>
        <a:off x="7524460" y="0"/>
        <a:ext cx="1952085" cy="7028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4D39AE-A105-4B6C-966A-3075F94449C0}">
      <dsp:nvSpPr>
        <dsp:cNvPr id="0" name=""/>
        <dsp:cNvSpPr/>
      </dsp:nvSpPr>
      <dsp:spPr>
        <a:xfrm>
          <a:off x="1731253" y="1158102"/>
          <a:ext cx="36763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7630" y="45720"/>
              </a:lnTo>
            </a:path>
          </a:pathLst>
        </a:custGeom>
        <a:noFill/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schemeClr val="tx1"/>
            </a:solidFill>
            <a:latin typeface="+mn-lt"/>
          </a:endParaRPr>
        </a:p>
      </dsp:txBody>
      <dsp:txXfrm>
        <a:off x="1905113" y="1201831"/>
        <a:ext cx="19911" cy="3982"/>
      </dsp:txXfrm>
    </dsp:sp>
    <dsp:sp modelId="{71C8B2CA-A26B-4C15-9DE2-526985098770}">
      <dsp:nvSpPr>
        <dsp:cNvPr id="0" name=""/>
        <dsp:cNvSpPr/>
      </dsp:nvSpPr>
      <dsp:spPr>
        <a:xfrm>
          <a:off x="1616" y="684391"/>
          <a:ext cx="1731437" cy="10388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+mn-lt"/>
            </a:rPr>
            <a:t>1. Identify the list of pages to be published</a:t>
          </a:r>
        </a:p>
      </dsp:txBody>
      <dsp:txXfrm>
        <a:off x="1616" y="684391"/>
        <a:ext cx="1731437" cy="1038862"/>
      </dsp:txXfrm>
    </dsp:sp>
    <dsp:sp modelId="{A611A293-2FA3-41CA-918F-8DCA973FAE2C}">
      <dsp:nvSpPr>
        <dsp:cNvPr id="0" name=""/>
        <dsp:cNvSpPr/>
      </dsp:nvSpPr>
      <dsp:spPr>
        <a:xfrm>
          <a:off x="3860921" y="1158102"/>
          <a:ext cx="36763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7630" y="45720"/>
              </a:lnTo>
            </a:path>
          </a:pathLst>
        </a:custGeom>
        <a:noFill/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schemeClr val="tx1"/>
            </a:solidFill>
            <a:latin typeface="+mn-lt"/>
          </a:endParaRPr>
        </a:p>
      </dsp:txBody>
      <dsp:txXfrm>
        <a:off x="4034780" y="1201831"/>
        <a:ext cx="19911" cy="3982"/>
      </dsp:txXfrm>
    </dsp:sp>
    <dsp:sp modelId="{49AEA8B8-E57D-42EB-9A5D-FBA780B836CC}">
      <dsp:nvSpPr>
        <dsp:cNvPr id="0" name=""/>
        <dsp:cNvSpPr/>
      </dsp:nvSpPr>
      <dsp:spPr>
        <a:xfrm>
          <a:off x="2131284" y="684391"/>
          <a:ext cx="1731437" cy="10388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+mn-lt"/>
            </a:rPr>
            <a:t>2. </a:t>
          </a:r>
          <a:r>
            <a:rPr lang="en-GB" sz="1400" kern="12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Create ‘Launch’ version for the content to be published </a:t>
          </a:r>
          <a:endParaRPr lang="en-US" sz="1400" kern="1200" dirty="0">
            <a:latin typeface="+mn-lt"/>
          </a:endParaRPr>
        </a:p>
      </dsp:txBody>
      <dsp:txXfrm>
        <a:off x="2131284" y="684391"/>
        <a:ext cx="1731437" cy="1038862"/>
      </dsp:txXfrm>
    </dsp:sp>
    <dsp:sp modelId="{3128BE38-69DA-4F23-B1AF-0DE6914FED53}">
      <dsp:nvSpPr>
        <dsp:cNvPr id="0" name=""/>
        <dsp:cNvSpPr/>
      </dsp:nvSpPr>
      <dsp:spPr>
        <a:xfrm>
          <a:off x="5990588" y="1158102"/>
          <a:ext cx="36763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7630" y="45720"/>
              </a:lnTo>
            </a:path>
          </a:pathLst>
        </a:custGeom>
        <a:noFill/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schemeClr val="tx1"/>
            </a:solidFill>
            <a:latin typeface="+mn-lt"/>
          </a:endParaRPr>
        </a:p>
      </dsp:txBody>
      <dsp:txXfrm>
        <a:off x="6164448" y="1201831"/>
        <a:ext cx="19911" cy="3982"/>
      </dsp:txXfrm>
    </dsp:sp>
    <dsp:sp modelId="{7A9E2951-21F4-4E55-9797-75E0C15D670A}">
      <dsp:nvSpPr>
        <dsp:cNvPr id="0" name=""/>
        <dsp:cNvSpPr/>
      </dsp:nvSpPr>
      <dsp:spPr>
        <a:xfrm>
          <a:off x="4260951" y="684391"/>
          <a:ext cx="1731437" cy="10388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3. Edit content, Analytics variables and Targeted personalisation </a:t>
          </a:r>
          <a:endParaRPr lang="en-US" sz="1400" kern="1200" dirty="0">
            <a:latin typeface="+mn-lt"/>
          </a:endParaRPr>
        </a:p>
      </dsp:txBody>
      <dsp:txXfrm>
        <a:off x="4260951" y="684391"/>
        <a:ext cx="1731437" cy="1038862"/>
      </dsp:txXfrm>
    </dsp:sp>
    <dsp:sp modelId="{07579081-296A-4CC6-AC22-FFF6E7F057C5}">
      <dsp:nvSpPr>
        <dsp:cNvPr id="0" name=""/>
        <dsp:cNvSpPr/>
      </dsp:nvSpPr>
      <dsp:spPr>
        <a:xfrm>
          <a:off x="867334" y="1721453"/>
          <a:ext cx="6389003" cy="367630"/>
        </a:xfrm>
        <a:custGeom>
          <a:avLst/>
          <a:gdLst/>
          <a:ahLst/>
          <a:cxnLst/>
          <a:rect l="0" t="0" r="0" b="0"/>
          <a:pathLst>
            <a:path>
              <a:moveTo>
                <a:pt x="6389003" y="0"/>
              </a:moveTo>
              <a:lnTo>
                <a:pt x="6389003" y="200915"/>
              </a:lnTo>
              <a:lnTo>
                <a:pt x="0" y="200915"/>
              </a:lnTo>
              <a:lnTo>
                <a:pt x="0" y="367630"/>
              </a:lnTo>
            </a:path>
          </a:pathLst>
        </a:custGeom>
        <a:noFill/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schemeClr val="tx1"/>
            </a:solidFill>
          </a:endParaRPr>
        </a:p>
      </dsp:txBody>
      <dsp:txXfrm>
        <a:off x="3901801" y="1903277"/>
        <a:ext cx="320070" cy="3982"/>
      </dsp:txXfrm>
    </dsp:sp>
    <dsp:sp modelId="{CAD938F3-47A3-457C-BBE9-7BF5C38FCF19}">
      <dsp:nvSpPr>
        <dsp:cNvPr id="0" name=""/>
        <dsp:cNvSpPr/>
      </dsp:nvSpPr>
      <dsp:spPr>
        <a:xfrm>
          <a:off x="6390619" y="684391"/>
          <a:ext cx="1731437" cy="10388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4. Validate Sitemap, SEO, URL Redirects and Links</a:t>
          </a:r>
          <a:r>
            <a:rPr lang="en-US" sz="1400" kern="1200" dirty="0">
              <a:latin typeface="+mn-lt"/>
            </a:rPr>
            <a:t> </a:t>
          </a:r>
        </a:p>
      </dsp:txBody>
      <dsp:txXfrm>
        <a:off x="6390619" y="684391"/>
        <a:ext cx="1731437" cy="1038862"/>
      </dsp:txXfrm>
    </dsp:sp>
    <dsp:sp modelId="{13C3E1F3-594A-4215-B709-6500D370E4A9}">
      <dsp:nvSpPr>
        <dsp:cNvPr id="0" name=""/>
        <dsp:cNvSpPr/>
      </dsp:nvSpPr>
      <dsp:spPr>
        <a:xfrm>
          <a:off x="1731253" y="2595195"/>
          <a:ext cx="36763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7630" y="45720"/>
              </a:lnTo>
            </a:path>
          </a:pathLst>
        </a:custGeom>
        <a:noFill/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schemeClr val="tx1"/>
            </a:solidFill>
            <a:latin typeface="+mn-lt"/>
          </a:endParaRPr>
        </a:p>
      </dsp:txBody>
      <dsp:txXfrm>
        <a:off x="1905113" y="2638924"/>
        <a:ext cx="19911" cy="3982"/>
      </dsp:txXfrm>
    </dsp:sp>
    <dsp:sp modelId="{5409B485-AE23-4BD0-B032-EBA128984964}">
      <dsp:nvSpPr>
        <dsp:cNvPr id="0" name=""/>
        <dsp:cNvSpPr/>
      </dsp:nvSpPr>
      <dsp:spPr>
        <a:xfrm>
          <a:off x="1616" y="2121484"/>
          <a:ext cx="1731437" cy="10388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Symbol" panose="05050102010706020507" pitchFamily="18" charset="2"/>
            <a:buNone/>
          </a:pPr>
          <a:r>
            <a:rPr lang="en-GB" sz="1400" kern="12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5. Verify Accuracy, Accessibility and Readability of content</a:t>
          </a:r>
          <a:endParaRPr lang="en-US" sz="1400" kern="1200" dirty="0">
            <a:latin typeface="+mn-lt"/>
          </a:endParaRPr>
        </a:p>
      </dsp:txBody>
      <dsp:txXfrm>
        <a:off x="1616" y="2121484"/>
        <a:ext cx="1731437" cy="1038862"/>
      </dsp:txXfrm>
    </dsp:sp>
    <dsp:sp modelId="{CD50A901-88F7-4BAF-A55D-4C6AFD1186C9}">
      <dsp:nvSpPr>
        <dsp:cNvPr id="0" name=""/>
        <dsp:cNvSpPr/>
      </dsp:nvSpPr>
      <dsp:spPr>
        <a:xfrm>
          <a:off x="3860921" y="2595195"/>
          <a:ext cx="36763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7630" y="45720"/>
              </a:lnTo>
            </a:path>
          </a:pathLst>
        </a:custGeom>
        <a:noFill/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schemeClr val="tx1"/>
            </a:solidFill>
          </a:endParaRPr>
        </a:p>
      </dsp:txBody>
      <dsp:txXfrm>
        <a:off x="4034780" y="2638924"/>
        <a:ext cx="19911" cy="3982"/>
      </dsp:txXfrm>
    </dsp:sp>
    <dsp:sp modelId="{4507D26B-7BBB-4E83-94D1-38ECA67CA06D}">
      <dsp:nvSpPr>
        <dsp:cNvPr id="0" name=""/>
        <dsp:cNvSpPr/>
      </dsp:nvSpPr>
      <dsp:spPr>
        <a:xfrm>
          <a:off x="2131284" y="2121484"/>
          <a:ext cx="1731437" cy="10388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6. Create ‘Launch’ version for the set of pages to be published</a:t>
          </a:r>
          <a:endParaRPr lang="en-US" sz="1400" kern="1200" dirty="0">
            <a:latin typeface="+mn-lt"/>
            <a:ea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131284" y="2121484"/>
        <a:ext cx="1731437" cy="1038862"/>
      </dsp:txXfrm>
    </dsp:sp>
    <dsp:sp modelId="{54A04729-EA4E-4B7D-A8FD-99BA4B02F657}">
      <dsp:nvSpPr>
        <dsp:cNvPr id="0" name=""/>
        <dsp:cNvSpPr/>
      </dsp:nvSpPr>
      <dsp:spPr>
        <a:xfrm>
          <a:off x="5990588" y="2595195"/>
          <a:ext cx="36763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7630" y="45720"/>
              </a:lnTo>
            </a:path>
          </a:pathLst>
        </a:custGeom>
        <a:noFill/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schemeClr val="tx1"/>
            </a:solidFill>
            <a:latin typeface="+mn-lt"/>
          </a:endParaRPr>
        </a:p>
      </dsp:txBody>
      <dsp:txXfrm>
        <a:off x="6164448" y="2638924"/>
        <a:ext cx="19911" cy="3982"/>
      </dsp:txXfrm>
    </dsp:sp>
    <dsp:sp modelId="{3161706E-F657-45F5-A8F7-F8AE8F9850AD}">
      <dsp:nvSpPr>
        <dsp:cNvPr id="0" name=""/>
        <dsp:cNvSpPr/>
      </dsp:nvSpPr>
      <dsp:spPr>
        <a:xfrm>
          <a:off x="4260951" y="2121484"/>
          <a:ext cx="1731437" cy="10388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7. Submit the Launch pages for review and approval by Aegon</a:t>
          </a:r>
          <a:endParaRPr lang="en-US" sz="1400" kern="1200" dirty="0">
            <a:latin typeface="+mn-lt"/>
            <a:ea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260951" y="2121484"/>
        <a:ext cx="1731437" cy="1038862"/>
      </dsp:txXfrm>
    </dsp:sp>
    <dsp:sp modelId="{8160E96D-3869-4204-AFC7-B92A7CF8ADBD}">
      <dsp:nvSpPr>
        <dsp:cNvPr id="0" name=""/>
        <dsp:cNvSpPr/>
      </dsp:nvSpPr>
      <dsp:spPr>
        <a:xfrm>
          <a:off x="867334" y="3158546"/>
          <a:ext cx="6389003" cy="367630"/>
        </a:xfrm>
        <a:custGeom>
          <a:avLst/>
          <a:gdLst/>
          <a:ahLst/>
          <a:cxnLst/>
          <a:rect l="0" t="0" r="0" b="0"/>
          <a:pathLst>
            <a:path>
              <a:moveTo>
                <a:pt x="6389003" y="0"/>
              </a:moveTo>
              <a:lnTo>
                <a:pt x="6389003" y="200915"/>
              </a:lnTo>
              <a:lnTo>
                <a:pt x="0" y="200915"/>
              </a:lnTo>
              <a:lnTo>
                <a:pt x="0" y="367630"/>
              </a:lnTo>
            </a:path>
          </a:pathLst>
        </a:custGeom>
        <a:noFill/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schemeClr val="tx1"/>
            </a:solidFill>
          </a:endParaRPr>
        </a:p>
      </dsp:txBody>
      <dsp:txXfrm>
        <a:off x="3901801" y="3340370"/>
        <a:ext cx="320070" cy="3982"/>
      </dsp:txXfrm>
    </dsp:sp>
    <dsp:sp modelId="{FB610BBA-1C78-406C-AD17-D3248450001E}">
      <dsp:nvSpPr>
        <dsp:cNvPr id="0" name=""/>
        <dsp:cNvSpPr/>
      </dsp:nvSpPr>
      <dsp:spPr>
        <a:xfrm>
          <a:off x="6390619" y="2121484"/>
          <a:ext cx="1731437" cy="10388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8. Get Aegon approval for publishing pages</a:t>
          </a:r>
          <a:endParaRPr lang="en-US" sz="1400" kern="1200" dirty="0">
            <a:latin typeface="+mn-lt"/>
            <a:ea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390619" y="2121484"/>
        <a:ext cx="1731437" cy="1038862"/>
      </dsp:txXfrm>
    </dsp:sp>
    <dsp:sp modelId="{82ED6CDE-BF60-42F9-8C18-4055BC039346}">
      <dsp:nvSpPr>
        <dsp:cNvPr id="0" name=""/>
        <dsp:cNvSpPr/>
      </dsp:nvSpPr>
      <dsp:spPr>
        <a:xfrm>
          <a:off x="1731253" y="4032288"/>
          <a:ext cx="36763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7630" y="45720"/>
              </a:lnTo>
            </a:path>
          </a:pathLst>
        </a:custGeom>
        <a:noFill/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schemeClr val="tx1"/>
            </a:solidFill>
          </a:endParaRPr>
        </a:p>
      </dsp:txBody>
      <dsp:txXfrm>
        <a:off x="1905113" y="4076017"/>
        <a:ext cx="19911" cy="3982"/>
      </dsp:txXfrm>
    </dsp:sp>
    <dsp:sp modelId="{5FD547D5-4313-4E8E-93B9-8A847D22A137}">
      <dsp:nvSpPr>
        <dsp:cNvPr id="0" name=""/>
        <dsp:cNvSpPr/>
      </dsp:nvSpPr>
      <dsp:spPr>
        <a:xfrm>
          <a:off x="1616" y="3558577"/>
          <a:ext cx="1731437" cy="10388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+mn-lt"/>
            </a:rPr>
            <a:t>9. Aegon Change Control process for publishing the launch pages.</a:t>
          </a:r>
        </a:p>
      </dsp:txBody>
      <dsp:txXfrm>
        <a:off x="1616" y="3558577"/>
        <a:ext cx="1731437" cy="1038862"/>
      </dsp:txXfrm>
    </dsp:sp>
    <dsp:sp modelId="{A0500AF7-4CF0-450A-A415-A9735E7332D1}">
      <dsp:nvSpPr>
        <dsp:cNvPr id="0" name=""/>
        <dsp:cNvSpPr/>
      </dsp:nvSpPr>
      <dsp:spPr>
        <a:xfrm>
          <a:off x="2131284" y="3558577"/>
          <a:ext cx="1731437" cy="10388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>
              <a:latin typeface="+mn-lt"/>
              <a:ea typeface="Times New Roman" panose="02020603050405020304" pitchFamily="18" charset="0"/>
              <a:cs typeface="Times New Roman" panose="02020603050405020304" pitchFamily="18" charset="0"/>
            </a:rPr>
            <a:t>10. Publish approved ‘Launch’ pages to live environment.</a:t>
          </a:r>
          <a:endParaRPr lang="en-US" sz="1400" kern="1200" dirty="0">
            <a:latin typeface="+mn-lt"/>
          </a:endParaRPr>
        </a:p>
      </dsp:txBody>
      <dsp:txXfrm>
        <a:off x="2131284" y="3558577"/>
        <a:ext cx="1731437" cy="10388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3077137" cy="513858"/>
          </a:xfrm>
          <a:prstGeom prst="rect">
            <a:avLst/>
          </a:prstGeom>
        </p:spPr>
        <p:txBody>
          <a:bodyPr vert="horz" lIns="91419" tIns="45708" rIns="91419" bIns="457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0508" y="0"/>
            <a:ext cx="3077137" cy="513858"/>
          </a:xfrm>
          <a:prstGeom prst="rect">
            <a:avLst/>
          </a:prstGeom>
        </p:spPr>
        <p:txBody>
          <a:bodyPr vert="horz" lIns="91419" tIns="45708" rIns="91419" bIns="45708" rtlCol="0"/>
          <a:lstStyle>
            <a:lvl1pPr algn="r">
              <a:defRPr sz="1200"/>
            </a:lvl1pPr>
          </a:lstStyle>
          <a:p>
            <a:fld id="{CD44A320-6BCB-4167-8085-83FDB0921155}" type="datetimeFigureOut">
              <a:rPr lang="en-US" smtClean="0"/>
              <a:t>10/1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720756"/>
            <a:ext cx="3077137" cy="513858"/>
          </a:xfrm>
          <a:prstGeom prst="rect">
            <a:avLst/>
          </a:prstGeom>
        </p:spPr>
        <p:txBody>
          <a:bodyPr vert="horz" lIns="91419" tIns="45708" rIns="91419" bIns="457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0508" y="9720756"/>
            <a:ext cx="3077137" cy="513858"/>
          </a:xfrm>
          <a:prstGeom prst="rect">
            <a:avLst/>
          </a:prstGeom>
        </p:spPr>
        <p:txBody>
          <a:bodyPr vert="horz" lIns="91419" tIns="45708" rIns="91419" bIns="45708" rtlCol="0" anchor="b"/>
          <a:lstStyle>
            <a:lvl1pPr algn="r">
              <a:defRPr sz="1200"/>
            </a:lvl1pPr>
          </a:lstStyle>
          <a:p>
            <a:fld id="{F7535FDB-FD3F-48F3-A41C-5CD17D74AE0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4492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3076363" cy="513508"/>
          </a:xfrm>
          <a:prstGeom prst="rect">
            <a:avLst/>
          </a:prstGeom>
        </p:spPr>
        <p:txBody>
          <a:bodyPr vert="horz" lIns="91404" tIns="45703" rIns="91404" bIns="45703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8" y="0"/>
            <a:ext cx="3076363" cy="513508"/>
          </a:xfrm>
          <a:prstGeom prst="rect">
            <a:avLst/>
          </a:prstGeom>
        </p:spPr>
        <p:txBody>
          <a:bodyPr vert="horz" lIns="91404" tIns="45703" rIns="91404" bIns="45703" rtlCol="0"/>
          <a:lstStyle>
            <a:lvl1pPr algn="r">
              <a:defRPr sz="1200"/>
            </a:lvl1pPr>
          </a:lstStyle>
          <a:p>
            <a:fld id="{276B978E-627B-4CA1-8882-283B11670EDB}" type="datetimeFigureOut">
              <a:rPr lang="nl-NL" smtClean="0"/>
              <a:t>17-10-2022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1277938"/>
            <a:ext cx="6143625" cy="3455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4" tIns="45703" rIns="91404" bIns="45703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925413"/>
            <a:ext cx="5679440" cy="4029879"/>
          </a:xfrm>
          <a:prstGeom prst="rect">
            <a:avLst/>
          </a:prstGeom>
        </p:spPr>
        <p:txBody>
          <a:bodyPr vert="horz" lIns="91404" tIns="45703" rIns="91404" bIns="4570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721107"/>
            <a:ext cx="3076363" cy="513508"/>
          </a:xfrm>
          <a:prstGeom prst="rect">
            <a:avLst/>
          </a:prstGeom>
        </p:spPr>
        <p:txBody>
          <a:bodyPr vert="horz" lIns="91404" tIns="45703" rIns="91404" bIns="45703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8" y="9721107"/>
            <a:ext cx="3076363" cy="513508"/>
          </a:xfrm>
          <a:prstGeom prst="rect">
            <a:avLst/>
          </a:prstGeom>
        </p:spPr>
        <p:txBody>
          <a:bodyPr vert="horz" lIns="91404" tIns="45703" rIns="91404" bIns="45703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2F8B99C-00E5-4454-8541-C53980D8A55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21295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716359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21754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7AFB2-63FE-4D27-8529-EF9C55DBAEBB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917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7AFB2-63FE-4D27-8529-EF9C55DBAEBB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3553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7AFB2-63FE-4D27-8529-EF9C55DBAEBB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3671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F8B99C-00E5-4454-8541-C53980D8A55E}" type="slidenum">
              <a:rPr lang="nl-NL" smtClean="0"/>
              <a:pPr/>
              <a:t>2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7615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Vrije vorm: vorm 58">
            <a:extLst>
              <a:ext uri="{FF2B5EF4-FFF2-40B4-BE49-F238E27FC236}">
                <a16:creationId xmlns:a16="http://schemas.microsoft.com/office/drawing/2014/main" id="{CF061A2A-C969-47FB-87D7-2FEBCBE23B6B}"/>
              </a:ext>
            </a:extLst>
          </p:cNvPr>
          <p:cNvSpPr/>
          <p:nvPr userDrawn="1"/>
        </p:nvSpPr>
        <p:spPr>
          <a:xfrm>
            <a:off x="4125816" y="6186070"/>
            <a:ext cx="7292723" cy="671930"/>
          </a:xfrm>
          <a:custGeom>
            <a:avLst/>
            <a:gdLst>
              <a:gd name="connsiteX0" fmla="*/ 3272 w 7292723"/>
              <a:gd name="connsiteY0" fmla="*/ 663481 h 671930"/>
              <a:gd name="connsiteX1" fmla="*/ 3272 w 7292723"/>
              <a:gd name="connsiteY1" fmla="*/ 671930 h 671930"/>
              <a:gd name="connsiteX2" fmla="*/ 382 w 7292723"/>
              <a:gd name="connsiteY2" fmla="*/ 671930 h 671930"/>
              <a:gd name="connsiteX3" fmla="*/ 292308 w 7292723"/>
              <a:gd name="connsiteY3" fmla="*/ 0 h 671930"/>
              <a:gd name="connsiteX4" fmla="*/ 7292723 w 7292723"/>
              <a:gd name="connsiteY4" fmla="*/ 0 h 671930"/>
              <a:gd name="connsiteX5" fmla="*/ 7062885 w 7292723"/>
              <a:gd name="connsiteY5" fmla="*/ 671930 h 671930"/>
              <a:gd name="connsiteX6" fmla="*/ 62470 w 7292723"/>
              <a:gd name="connsiteY6" fmla="*/ 671930 h 671930"/>
              <a:gd name="connsiteX7" fmla="*/ 0 w 7292723"/>
              <a:gd name="connsiteY7" fmla="*/ 0 h 671930"/>
              <a:gd name="connsiteX8" fmla="*/ 382 w 7292723"/>
              <a:gd name="connsiteY8" fmla="*/ 0 h 671930"/>
              <a:gd name="connsiteX9" fmla="*/ 382 w 7292723"/>
              <a:gd name="connsiteY9" fmla="*/ 671930 h 671930"/>
              <a:gd name="connsiteX10" fmla="*/ 0 w 7292723"/>
              <a:gd name="connsiteY10" fmla="*/ 671930 h 671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292723" h="671930">
                <a:moveTo>
                  <a:pt x="3272" y="663481"/>
                </a:moveTo>
                <a:lnTo>
                  <a:pt x="3272" y="671930"/>
                </a:lnTo>
                <a:lnTo>
                  <a:pt x="382" y="671930"/>
                </a:lnTo>
                <a:close/>
                <a:moveTo>
                  <a:pt x="292308" y="0"/>
                </a:moveTo>
                <a:lnTo>
                  <a:pt x="7292723" y="0"/>
                </a:lnTo>
                <a:lnTo>
                  <a:pt x="7062885" y="671930"/>
                </a:lnTo>
                <a:lnTo>
                  <a:pt x="62470" y="671930"/>
                </a:lnTo>
                <a:close/>
                <a:moveTo>
                  <a:pt x="0" y="0"/>
                </a:moveTo>
                <a:lnTo>
                  <a:pt x="382" y="0"/>
                </a:lnTo>
                <a:lnTo>
                  <a:pt x="382" y="671930"/>
                </a:lnTo>
                <a:lnTo>
                  <a:pt x="0" y="67193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17" y="1554899"/>
            <a:ext cx="4641551" cy="156471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5241130"/>
            <a:ext cx="3708862" cy="3048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800" b="1" i="0">
                <a:solidFill>
                  <a:schemeClr val="bg1"/>
                </a:solidFill>
              </a:defRPr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City, Country, Date, Yea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7" y="3661068"/>
            <a:ext cx="4641551" cy="32544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0" indent="0">
              <a:buNone/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 noProof="0"/>
              <a:t>Put department here</a:t>
            </a:r>
          </a:p>
        </p:txBody>
      </p:sp>
      <p:sp>
        <p:nvSpPr>
          <p:cNvPr id="61" name="Tijdelijke aanduiding voor afbeelding 60">
            <a:extLst>
              <a:ext uri="{FF2B5EF4-FFF2-40B4-BE49-F238E27FC236}">
                <a16:creationId xmlns:a16="http://schemas.microsoft.com/office/drawing/2014/main" id="{8F4F692A-378F-44E7-A1C8-941AAE1217A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18018" y="-6312"/>
            <a:ext cx="7771920" cy="6225314"/>
          </a:xfrm>
          <a:custGeom>
            <a:avLst/>
            <a:gdLst>
              <a:gd name="connsiteX0" fmla="*/ 2118250 w 7771920"/>
              <a:gd name="connsiteY0" fmla="*/ 0 h 6225314"/>
              <a:gd name="connsiteX1" fmla="*/ 7768034 w 7771920"/>
              <a:gd name="connsiteY1" fmla="*/ 1151 h 6225314"/>
              <a:gd name="connsiteX2" fmla="*/ 7771920 w 7771920"/>
              <a:gd name="connsiteY2" fmla="*/ 3349434 h 6225314"/>
              <a:gd name="connsiteX3" fmla="*/ 7771478 w 7771920"/>
              <a:gd name="connsiteY3" fmla="*/ 3938492 h 6225314"/>
              <a:gd name="connsiteX4" fmla="*/ 6989256 w 7771920"/>
              <a:gd name="connsiteY4" fmla="*/ 6225314 h 6225314"/>
              <a:gd name="connsiteX5" fmla="*/ 0 w 7771920"/>
              <a:gd name="connsiteY5" fmla="*/ 6192693 h 6225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1920" h="6225314">
                <a:moveTo>
                  <a:pt x="2118250" y="0"/>
                </a:moveTo>
                <a:lnTo>
                  <a:pt x="7768034" y="1151"/>
                </a:lnTo>
                <a:cubicBezTo>
                  <a:pt x="7764526" y="1126594"/>
                  <a:pt x="7770624" y="2233340"/>
                  <a:pt x="7771920" y="3349434"/>
                </a:cubicBezTo>
                <a:lnTo>
                  <a:pt x="7771478" y="3938492"/>
                </a:lnTo>
                <a:lnTo>
                  <a:pt x="6989256" y="6225314"/>
                </a:lnTo>
                <a:lnTo>
                  <a:pt x="0" y="6192693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600"/>
            </a:lvl1pPr>
          </a:lstStyle>
          <a:p>
            <a:pPr marL="228600" lvl="0" indent="-228600" algn="ctr"/>
            <a:r>
              <a:rPr lang="en-US" noProof="0" dirty="0"/>
              <a:t>Click icon to insert an image</a:t>
            </a:r>
          </a:p>
        </p:txBody>
      </p:sp>
      <p:pic>
        <p:nvPicPr>
          <p:cNvPr id="32" name="Picture 31" descr="A close up of a logo&#10;&#10;Description automatically generated">
            <a:extLst>
              <a:ext uri="{FF2B5EF4-FFF2-40B4-BE49-F238E27FC236}">
                <a16:creationId xmlns:a16="http://schemas.microsoft.com/office/drawing/2014/main" id="{1493A41B-8A8D-ED4A-A236-E590C2AA41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95" y="-8305"/>
            <a:ext cx="2321311" cy="1332543"/>
          </a:xfrm>
          <a:prstGeom prst="rect">
            <a:avLst/>
          </a:prstGeom>
        </p:spPr>
      </p:pic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D1D1B9CC-7A37-4B19-AEAE-B3F3C09EB1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8963" y="4182184"/>
            <a:ext cx="4397375" cy="28892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lang="nl-NL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Name Speaker</a:t>
            </a:r>
          </a:p>
        </p:txBody>
      </p:sp>
      <p:sp>
        <p:nvSpPr>
          <p:cNvPr id="44" name="Tijdelijke aanduiding voor tekst 12">
            <a:extLst>
              <a:ext uri="{FF2B5EF4-FFF2-40B4-BE49-F238E27FC236}">
                <a16:creationId xmlns:a16="http://schemas.microsoft.com/office/drawing/2014/main" id="{610F4E30-8C76-49D0-906F-40210A8122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8963" y="4511749"/>
            <a:ext cx="4397375" cy="28892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lang="nl-NL" sz="16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Job Title</a:t>
            </a:r>
          </a:p>
        </p:txBody>
      </p:sp>
      <p:sp>
        <p:nvSpPr>
          <p:cNvPr id="57" name="Rectangle 3">
            <a:extLst>
              <a:ext uri="{FF2B5EF4-FFF2-40B4-BE49-F238E27FC236}">
                <a16:creationId xmlns:a16="http://schemas.microsoft.com/office/drawing/2014/main" id="{FFB26F9B-BD1C-4057-BB96-BCEFD94FFDCC}"/>
              </a:ext>
            </a:extLst>
          </p:cNvPr>
          <p:cNvSpPr/>
          <p:nvPr userDrawn="1"/>
        </p:nvSpPr>
        <p:spPr>
          <a:xfrm>
            <a:off x="11188701" y="3887729"/>
            <a:ext cx="1016000" cy="2970271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2" name="TextBox 13">
            <a:extLst>
              <a:ext uri="{FF2B5EF4-FFF2-40B4-BE49-F238E27FC236}">
                <a16:creationId xmlns:a16="http://schemas.microsoft.com/office/drawing/2014/main" id="{B1619D70-3443-43B9-9764-D3495C2811C0}"/>
              </a:ext>
            </a:extLst>
          </p:cNvPr>
          <p:cNvSpPr txBox="1"/>
          <p:nvPr userDrawn="1"/>
        </p:nvSpPr>
        <p:spPr>
          <a:xfrm>
            <a:off x="6527800" y="6219002"/>
            <a:ext cx="4626377" cy="638998"/>
          </a:xfrm>
          <a:prstGeom prst="rect">
            <a:avLst/>
          </a:prstGeom>
          <a:noFill/>
        </p:spPr>
        <p:txBody>
          <a:bodyPr wrap="none" lIns="0" rIns="0" rtlCol="0" anchor="ctr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US" sz="1200" b="1" i="1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ing people live their best lives</a:t>
            </a:r>
          </a:p>
        </p:txBody>
      </p:sp>
    </p:spTree>
    <p:extLst>
      <p:ext uri="{BB962C8B-B14F-4D97-AF65-F5344CB8AC3E}">
        <p14:creationId xmlns:p14="http://schemas.microsoft.com/office/powerpoint/2010/main" val="126561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4112" userDrawn="1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3277318" y="1898249"/>
            <a:ext cx="5718742" cy="3755982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8E80370-8790-4863-AB9C-02FC64D074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17963" y="2287588"/>
            <a:ext cx="4191000" cy="2595562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ctr">
              <a:buNone/>
              <a:defRPr sz="1600"/>
            </a:lvl1pPr>
          </a:lstStyle>
          <a:p>
            <a:r>
              <a:rPr lang="en-US" noProof="0" dirty="0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8533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3277318" y="1898249"/>
            <a:ext cx="5718742" cy="3755982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</p:grpSp>
      <p:sp>
        <p:nvSpPr>
          <p:cNvPr id="10" name="Media Placeholder 9">
            <a:extLst>
              <a:ext uri="{FF2B5EF4-FFF2-40B4-BE49-F238E27FC236}">
                <a16:creationId xmlns:a16="http://schemas.microsoft.com/office/drawing/2014/main" id="{A6C3A0F0-27BB-4883-B60B-CFCD69CCC8D5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4017963" y="2287588"/>
            <a:ext cx="4191000" cy="2595562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icon to insert media</a:t>
            </a:r>
          </a:p>
        </p:txBody>
      </p:sp>
    </p:spTree>
    <p:extLst>
      <p:ext uri="{BB962C8B-B14F-4D97-AF65-F5344CB8AC3E}">
        <p14:creationId xmlns:p14="http://schemas.microsoft.com/office/powerpoint/2010/main" val="349996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X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2174335" y="1452622"/>
            <a:ext cx="7843329" cy="5151378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8E80370-8790-4863-AB9C-02FC64D074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84586" y="1986646"/>
            <a:ext cx="5751070" cy="3569202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ctr">
              <a:buNone/>
              <a:defRPr sz="1600"/>
            </a:lvl1pPr>
          </a:lstStyle>
          <a:p>
            <a:r>
              <a:rPr lang="en-US" noProof="0" dirty="0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2068861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XL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2174335" y="1452622"/>
            <a:ext cx="7843329" cy="5151378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</p:grpSp>
      <p:sp>
        <p:nvSpPr>
          <p:cNvPr id="10" name="Media Placeholder 9">
            <a:extLst>
              <a:ext uri="{FF2B5EF4-FFF2-40B4-BE49-F238E27FC236}">
                <a16:creationId xmlns:a16="http://schemas.microsoft.com/office/drawing/2014/main" id="{19DB4B01-EB8D-4060-A3E9-7E3E8B6AFED0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3189288" y="1987550"/>
            <a:ext cx="5749925" cy="3559175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icon to insert media</a:t>
            </a:r>
          </a:p>
        </p:txBody>
      </p:sp>
    </p:spTree>
    <p:extLst>
      <p:ext uri="{BB962C8B-B14F-4D97-AF65-F5344CB8AC3E}">
        <p14:creationId xmlns:p14="http://schemas.microsoft.com/office/powerpoint/2010/main" val="2252709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fram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3">
            <a:extLst>
              <a:ext uri="{FF2B5EF4-FFF2-40B4-BE49-F238E27FC236}">
                <a16:creationId xmlns:a16="http://schemas.microsoft.com/office/drawing/2014/main" id="{BA86B133-8EA2-4BCA-9047-7964C012F2D3}"/>
              </a:ext>
            </a:extLst>
          </p:cNvPr>
          <p:cNvSpPr/>
          <p:nvPr userDrawn="1"/>
        </p:nvSpPr>
        <p:spPr>
          <a:xfrm rot="10800000">
            <a:off x="-12761" y="-11579"/>
            <a:ext cx="2293503" cy="6880685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52F4F2B-D6E4-49FD-A49C-C066BB1C819A}"/>
              </a:ext>
            </a:extLst>
          </p:cNvPr>
          <p:cNvGrpSpPr/>
          <p:nvPr userDrawn="1"/>
        </p:nvGrpSpPr>
        <p:grpSpPr>
          <a:xfrm>
            <a:off x="375970" y="509428"/>
            <a:ext cx="1269708" cy="457523"/>
            <a:chOff x="3078163" y="2341563"/>
            <a:chExt cx="6035676" cy="217487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CC873411-21FD-495E-B469-63EE401DF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C37F28F2-3A6B-4A2D-BB07-336F952F9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F6C91EE9-45B1-4CA7-B9FF-2B382E9BA0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FB6BFED-CA50-4767-90E7-F7F31F6E87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9">
              <a:extLst>
                <a:ext uri="{FF2B5EF4-FFF2-40B4-BE49-F238E27FC236}">
                  <a16:creationId xmlns:a16="http://schemas.microsoft.com/office/drawing/2014/main" id="{1CCB9127-4DB0-4E41-9BAE-0917376F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54C9E3C8-5976-4789-B0A2-88D59AF831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11">
              <a:extLst>
                <a:ext uri="{FF2B5EF4-FFF2-40B4-BE49-F238E27FC236}">
                  <a16:creationId xmlns:a16="http://schemas.microsoft.com/office/drawing/2014/main" id="{D20CC8FB-6D1D-428F-A33D-C001800D26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B0BA5DFF-164C-4F33-9EF5-BBA2D30D6CB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9526" y="-11574"/>
            <a:ext cx="12201525" cy="6880686"/>
          </a:xfrm>
          <a:custGeom>
            <a:avLst/>
            <a:gdLst>
              <a:gd name="connsiteX0" fmla="*/ 2318085 w 12201525"/>
              <a:gd name="connsiteY0" fmla="*/ 0 h 6880686"/>
              <a:gd name="connsiteX1" fmla="*/ 12201525 w 12201525"/>
              <a:gd name="connsiteY1" fmla="*/ 463 h 6880686"/>
              <a:gd name="connsiteX2" fmla="*/ 12198810 w 12201525"/>
              <a:gd name="connsiteY2" fmla="*/ 1875299 h 6880686"/>
              <a:gd name="connsiteX3" fmla="*/ 12201525 w 12201525"/>
              <a:gd name="connsiteY3" fmla="*/ 1875299 h 6880686"/>
              <a:gd name="connsiteX4" fmla="*/ 12201525 w 12201525"/>
              <a:gd name="connsiteY4" fmla="*/ 6344112 h 6880686"/>
              <a:gd name="connsiteX5" fmla="*/ 12199508 w 12201525"/>
              <a:gd name="connsiteY5" fmla="*/ 6344112 h 6880686"/>
              <a:gd name="connsiteX6" fmla="*/ 12201525 w 12201525"/>
              <a:gd name="connsiteY6" fmla="*/ 6880686 h 6880686"/>
              <a:gd name="connsiteX7" fmla="*/ 0 w 12201525"/>
              <a:gd name="connsiteY7" fmla="*/ 6880686 h 6880686"/>
              <a:gd name="connsiteX8" fmla="*/ 11673 w 12201525"/>
              <a:gd name="connsiteY8" fmla="*/ 6841306 h 6880686"/>
              <a:gd name="connsiteX9" fmla="*/ 1308276 w 12201525"/>
              <a:gd name="connsiteY9" fmla="*/ 2995309 h 6880686"/>
              <a:gd name="connsiteX10" fmla="*/ 1457809 w 12201525"/>
              <a:gd name="connsiteY10" fmla="*/ 2580257 h 6880686"/>
              <a:gd name="connsiteX11" fmla="*/ 2040932 w 12201525"/>
              <a:gd name="connsiteY11" fmla="*/ 860085 h 6880686"/>
              <a:gd name="connsiteX12" fmla="*/ 2134197 w 12201525"/>
              <a:gd name="connsiteY12" fmla="*/ 545453 h 6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201525" h="6880686">
                <a:moveTo>
                  <a:pt x="2318085" y="0"/>
                </a:moveTo>
                <a:lnTo>
                  <a:pt x="12201525" y="463"/>
                </a:lnTo>
                <a:cubicBezTo>
                  <a:pt x="12200620" y="625408"/>
                  <a:pt x="12199714" y="1250354"/>
                  <a:pt x="12198810" y="1875299"/>
                </a:cubicBezTo>
                <a:lnTo>
                  <a:pt x="12201525" y="1875299"/>
                </a:lnTo>
                <a:lnTo>
                  <a:pt x="12201525" y="6344112"/>
                </a:lnTo>
                <a:lnTo>
                  <a:pt x="12199508" y="6344112"/>
                </a:lnTo>
                <a:cubicBezTo>
                  <a:pt x="12200181" y="6522970"/>
                  <a:pt x="12200852" y="6701828"/>
                  <a:pt x="12201525" y="6880686"/>
                </a:cubicBezTo>
                <a:lnTo>
                  <a:pt x="0" y="6880686"/>
                </a:lnTo>
                <a:lnTo>
                  <a:pt x="11673" y="6841306"/>
                </a:lnTo>
                <a:lnTo>
                  <a:pt x="1308276" y="2995309"/>
                </a:lnTo>
                <a:lnTo>
                  <a:pt x="1457809" y="2580257"/>
                </a:lnTo>
                <a:cubicBezTo>
                  <a:pt x="1662353" y="2006866"/>
                  <a:pt x="1860795" y="1433476"/>
                  <a:pt x="2040932" y="860085"/>
                </a:cubicBezTo>
                <a:lnTo>
                  <a:pt x="2134197" y="545453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None/>
              <a:defRPr lang="nl-NL" sz="1600" dirty="0"/>
            </a:lvl1pPr>
          </a:lstStyle>
          <a:p>
            <a:pPr marL="228600" lvl="0" indent="-228600" algn="ctr"/>
            <a:r>
              <a:rPr lang="en-US" noProof="0" dirty="0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186713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2" userDrawn="1">
          <p15:clr>
            <a:srgbClr val="FBAE40"/>
          </p15:clr>
        </p15:guide>
        <p15:guide id="4" orient="horz" pos="4065">
          <p15:clr>
            <a:srgbClr val="FBAE40"/>
          </p15:clr>
        </p15:guide>
        <p15:guide id="5" pos="4404">
          <p15:clr>
            <a:srgbClr val="FBAE40"/>
          </p15:clr>
        </p15:guide>
        <p15:guide id="6" pos="12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Vrije vorm: vorm 27">
            <a:extLst>
              <a:ext uri="{FF2B5EF4-FFF2-40B4-BE49-F238E27FC236}">
                <a16:creationId xmlns:a16="http://schemas.microsoft.com/office/drawing/2014/main" id="{A7DAE745-3021-445B-9937-0EEA4C1BC8A8}"/>
              </a:ext>
            </a:extLst>
          </p:cNvPr>
          <p:cNvSpPr/>
          <p:nvPr userDrawn="1"/>
        </p:nvSpPr>
        <p:spPr>
          <a:xfrm>
            <a:off x="5873442" y="2546429"/>
            <a:ext cx="6318556" cy="3293654"/>
          </a:xfrm>
          <a:custGeom>
            <a:avLst/>
            <a:gdLst>
              <a:gd name="connsiteX0" fmla="*/ 1106090 w 6318556"/>
              <a:gd name="connsiteY0" fmla="*/ 0 h 3293654"/>
              <a:gd name="connsiteX1" fmla="*/ 1126600 w 6318556"/>
              <a:gd name="connsiteY1" fmla="*/ 46 h 3293654"/>
              <a:gd name="connsiteX2" fmla="*/ 1126615 w 6318556"/>
              <a:gd name="connsiteY2" fmla="*/ 0 h 3293654"/>
              <a:gd name="connsiteX3" fmla="*/ 1126615 w 6318556"/>
              <a:gd name="connsiteY3" fmla="*/ 46 h 3293654"/>
              <a:gd name="connsiteX4" fmla="*/ 6318556 w 6318556"/>
              <a:gd name="connsiteY4" fmla="*/ 11652 h 3293654"/>
              <a:gd name="connsiteX5" fmla="*/ 6318556 w 6318556"/>
              <a:gd name="connsiteY5" fmla="*/ 3293654 h 3293654"/>
              <a:gd name="connsiteX6" fmla="*/ 0 w 6318556"/>
              <a:gd name="connsiteY6" fmla="*/ 3293654 h 3293654"/>
              <a:gd name="connsiteX7" fmla="*/ 955335 w 6318556"/>
              <a:gd name="connsiteY7" fmla="*/ 500738 h 3293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18556" h="3293654">
                <a:moveTo>
                  <a:pt x="1106090" y="0"/>
                </a:moveTo>
                <a:lnTo>
                  <a:pt x="1126600" y="46"/>
                </a:lnTo>
                <a:lnTo>
                  <a:pt x="1126615" y="0"/>
                </a:lnTo>
                <a:lnTo>
                  <a:pt x="1126615" y="46"/>
                </a:lnTo>
                <a:lnTo>
                  <a:pt x="6318556" y="11652"/>
                </a:lnTo>
                <a:lnTo>
                  <a:pt x="6318556" y="3293654"/>
                </a:lnTo>
                <a:lnTo>
                  <a:pt x="0" y="3293654"/>
                </a:lnTo>
                <a:lnTo>
                  <a:pt x="955335" y="5007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BA86B133-8EA2-4BCA-9047-7964C012F2D3}"/>
              </a:ext>
            </a:extLst>
          </p:cNvPr>
          <p:cNvSpPr/>
          <p:nvPr userDrawn="1"/>
        </p:nvSpPr>
        <p:spPr>
          <a:xfrm rot="10800000">
            <a:off x="-9530" y="-11577"/>
            <a:ext cx="2311293" cy="6880686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9454" y="2995165"/>
            <a:ext cx="4862858" cy="2152893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26" name="Tijdelijke aanduiding voor afbeelding 25">
            <a:extLst>
              <a:ext uri="{FF2B5EF4-FFF2-40B4-BE49-F238E27FC236}">
                <a16:creationId xmlns:a16="http://schemas.microsoft.com/office/drawing/2014/main" id="{D2D835CF-AC8F-47B2-9687-324E766D8F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9526" y="-11574"/>
            <a:ext cx="12201525" cy="6880686"/>
          </a:xfrm>
          <a:custGeom>
            <a:avLst/>
            <a:gdLst>
              <a:gd name="connsiteX0" fmla="*/ 6989058 w 12201525"/>
              <a:gd name="connsiteY0" fmla="*/ 2558003 h 6880686"/>
              <a:gd name="connsiteX1" fmla="*/ 6838303 w 12201525"/>
              <a:gd name="connsiteY1" fmla="*/ 3058741 h 6880686"/>
              <a:gd name="connsiteX2" fmla="*/ 5882968 w 12201525"/>
              <a:gd name="connsiteY2" fmla="*/ 5851657 h 6880686"/>
              <a:gd name="connsiteX3" fmla="*/ 12201524 w 12201525"/>
              <a:gd name="connsiteY3" fmla="*/ 5851657 h 6880686"/>
              <a:gd name="connsiteX4" fmla="*/ 12201524 w 12201525"/>
              <a:gd name="connsiteY4" fmla="*/ 2569655 h 6880686"/>
              <a:gd name="connsiteX5" fmla="*/ 7009583 w 12201525"/>
              <a:gd name="connsiteY5" fmla="*/ 2558049 h 6880686"/>
              <a:gd name="connsiteX6" fmla="*/ 7009583 w 12201525"/>
              <a:gd name="connsiteY6" fmla="*/ 2558003 h 6880686"/>
              <a:gd name="connsiteX7" fmla="*/ 7009568 w 12201525"/>
              <a:gd name="connsiteY7" fmla="*/ 2558049 h 6880686"/>
              <a:gd name="connsiteX8" fmla="*/ 2318085 w 12201525"/>
              <a:gd name="connsiteY8" fmla="*/ 0 h 6880686"/>
              <a:gd name="connsiteX9" fmla="*/ 12201525 w 12201525"/>
              <a:gd name="connsiteY9" fmla="*/ 463 h 6880686"/>
              <a:gd name="connsiteX10" fmla="*/ 12198810 w 12201525"/>
              <a:gd name="connsiteY10" fmla="*/ 1875299 h 6880686"/>
              <a:gd name="connsiteX11" fmla="*/ 12201525 w 12201525"/>
              <a:gd name="connsiteY11" fmla="*/ 1875299 h 6880686"/>
              <a:gd name="connsiteX12" fmla="*/ 12201525 w 12201525"/>
              <a:gd name="connsiteY12" fmla="*/ 6344112 h 6880686"/>
              <a:gd name="connsiteX13" fmla="*/ 12199508 w 12201525"/>
              <a:gd name="connsiteY13" fmla="*/ 6344112 h 6880686"/>
              <a:gd name="connsiteX14" fmla="*/ 12201525 w 12201525"/>
              <a:gd name="connsiteY14" fmla="*/ 6880686 h 6880686"/>
              <a:gd name="connsiteX15" fmla="*/ 0 w 12201525"/>
              <a:gd name="connsiteY15" fmla="*/ 6880686 h 6880686"/>
              <a:gd name="connsiteX16" fmla="*/ 11673 w 12201525"/>
              <a:gd name="connsiteY16" fmla="*/ 6841306 h 6880686"/>
              <a:gd name="connsiteX17" fmla="*/ 1308276 w 12201525"/>
              <a:gd name="connsiteY17" fmla="*/ 2995309 h 6880686"/>
              <a:gd name="connsiteX18" fmla="*/ 1457809 w 12201525"/>
              <a:gd name="connsiteY18" fmla="*/ 2580257 h 6880686"/>
              <a:gd name="connsiteX19" fmla="*/ 2040932 w 12201525"/>
              <a:gd name="connsiteY19" fmla="*/ 860085 h 6880686"/>
              <a:gd name="connsiteX20" fmla="*/ 2134197 w 12201525"/>
              <a:gd name="connsiteY20" fmla="*/ 545453 h 6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201525" h="6880686">
                <a:moveTo>
                  <a:pt x="6989058" y="2558003"/>
                </a:moveTo>
                <a:lnTo>
                  <a:pt x="6838303" y="3058741"/>
                </a:lnTo>
                <a:lnTo>
                  <a:pt x="5882968" y="5851657"/>
                </a:lnTo>
                <a:lnTo>
                  <a:pt x="12201524" y="5851657"/>
                </a:lnTo>
                <a:lnTo>
                  <a:pt x="12201524" y="2569655"/>
                </a:lnTo>
                <a:lnTo>
                  <a:pt x="7009583" y="2558049"/>
                </a:lnTo>
                <a:lnTo>
                  <a:pt x="7009583" y="2558003"/>
                </a:lnTo>
                <a:lnTo>
                  <a:pt x="7009568" y="2558049"/>
                </a:lnTo>
                <a:close/>
                <a:moveTo>
                  <a:pt x="2318085" y="0"/>
                </a:moveTo>
                <a:lnTo>
                  <a:pt x="12201525" y="463"/>
                </a:lnTo>
                <a:cubicBezTo>
                  <a:pt x="12200620" y="625408"/>
                  <a:pt x="12199714" y="1250354"/>
                  <a:pt x="12198810" y="1875299"/>
                </a:cubicBezTo>
                <a:lnTo>
                  <a:pt x="12201525" y="1875299"/>
                </a:lnTo>
                <a:lnTo>
                  <a:pt x="12201525" y="6344112"/>
                </a:lnTo>
                <a:lnTo>
                  <a:pt x="12199508" y="6344112"/>
                </a:lnTo>
                <a:cubicBezTo>
                  <a:pt x="12200181" y="6522970"/>
                  <a:pt x="12200852" y="6701828"/>
                  <a:pt x="12201525" y="6880686"/>
                </a:cubicBezTo>
                <a:lnTo>
                  <a:pt x="0" y="6880686"/>
                </a:lnTo>
                <a:lnTo>
                  <a:pt x="11673" y="6841306"/>
                </a:lnTo>
                <a:lnTo>
                  <a:pt x="1308276" y="2995309"/>
                </a:lnTo>
                <a:lnTo>
                  <a:pt x="1457809" y="2580257"/>
                </a:lnTo>
                <a:cubicBezTo>
                  <a:pt x="1662353" y="2006866"/>
                  <a:pt x="1860795" y="1433476"/>
                  <a:pt x="2040932" y="860085"/>
                </a:cubicBezTo>
                <a:lnTo>
                  <a:pt x="2134197" y="545453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None/>
              <a:defRPr lang="nl-NL" sz="1600" dirty="0"/>
            </a:lvl1pPr>
          </a:lstStyle>
          <a:p>
            <a:pPr marL="228600" lvl="0" indent="-228600" algn="ctr"/>
            <a:r>
              <a:rPr lang="en-US" noProof="0" dirty="0"/>
              <a:t>Click icon to insert an imag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0FAACAD-4552-CD4D-BDF0-611AEAED22F5}"/>
              </a:ext>
            </a:extLst>
          </p:cNvPr>
          <p:cNvGrpSpPr/>
          <p:nvPr userDrawn="1"/>
        </p:nvGrpSpPr>
        <p:grpSpPr>
          <a:xfrm>
            <a:off x="375970" y="509428"/>
            <a:ext cx="1269708" cy="457523"/>
            <a:chOff x="3078163" y="2341563"/>
            <a:chExt cx="6035676" cy="217487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C83A5D12-FAF6-504C-B2FD-C6E83D5491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6E8BC0E6-FFF7-964A-A8F8-259E13B42E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14F31EA-8D74-B946-A277-58356FD95C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BE90E716-DDAC-D744-B755-8020656C05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BEDE278-6817-6642-9CED-73B9B0EF7C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334752CE-ADF5-5C4D-8231-CC00983FD6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F927F4F0-2CD3-A742-9CB0-20710EA6AA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27" name="Vrije vorm: vorm 26">
            <a:extLst>
              <a:ext uri="{FF2B5EF4-FFF2-40B4-BE49-F238E27FC236}">
                <a16:creationId xmlns:a16="http://schemas.microsoft.com/office/drawing/2014/main" id="{E090E6A0-BBE1-434C-8C1D-CD317F3FF280}"/>
              </a:ext>
            </a:extLst>
          </p:cNvPr>
          <p:cNvSpPr/>
          <p:nvPr userDrawn="1"/>
        </p:nvSpPr>
        <p:spPr>
          <a:xfrm>
            <a:off x="5873442" y="5340453"/>
            <a:ext cx="6318556" cy="499631"/>
          </a:xfrm>
          <a:custGeom>
            <a:avLst/>
            <a:gdLst>
              <a:gd name="connsiteX0" fmla="*/ 170902 w 6318556"/>
              <a:gd name="connsiteY0" fmla="*/ 0 h 499631"/>
              <a:gd name="connsiteX1" fmla="*/ 6318556 w 6318556"/>
              <a:gd name="connsiteY1" fmla="*/ 0 h 499631"/>
              <a:gd name="connsiteX2" fmla="*/ 6318556 w 6318556"/>
              <a:gd name="connsiteY2" fmla="*/ 499631 h 499631"/>
              <a:gd name="connsiteX3" fmla="*/ 0 w 6318556"/>
              <a:gd name="connsiteY3" fmla="*/ 499631 h 4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18556" h="499631">
                <a:moveTo>
                  <a:pt x="170902" y="0"/>
                </a:moveTo>
                <a:lnTo>
                  <a:pt x="6318556" y="0"/>
                </a:lnTo>
                <a:lnTo>
                  <a:pt x="6318556" y="499631"/>
                </a:lnTo>
                <a:lnTo>
                  <a:pt x="0" y="49963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CAC65C5-D382-4D46-8330-6C7F60B3857A}"/>
              </a:ext>
            </a:extLst>
          </p:cNvPr>
          <p:cNvSpPr txBox="1"/>
          <p:nvPr userDrawn="1"/>
        </p:nvSpPr>
        <p:spPr>
          <a:xfrm>
            <a:off x="7001550" y="5340452"/>
            <a:ext cx="5181214" cy="36490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sz="1000" b="1" i="1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ing people live their best lives</a:t>
            </a:r>
          </a:p>
        </p:txBody>
      </p:sp>
    </p:spTree>
    <p:extLst>
      <p:ext uri="{BB962C8B-B14F-4D97-AF65-F5344CB8AC3E}">
        <p14:creationId xmlns:p14="http://schemas.microsoft.com/office/powerpoint/2010/main" val="363542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  <p15:guide id="5" pos="4404" userDrawn="1">
          <p15:clr>
            <a:srgbClr val="FBAE40"/>
          </p15:clr>
        </p15:guide>
        <p15:guide id="6" pos="123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1291015" y="1477881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4067557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1291015" y="18928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cxnSp>
        <p:nvCxnSpPr>
          <p:cNvPr id="52" name="Straight Connector 59"/>
          <p:cNvCxnSpPr/>
          <p:nvPr userDrawn="1"/>
        </p:nvCxnSpPr>
        <p:spPr>
          <a:xfrm>
            <a:off x="7897494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558081" y="1477881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1291015" y="2868418"/>
            <a:ext cx="2759201" cy="3765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1291015" y="325517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558081" y="2868418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1291015" y="4258955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1291015" y="4646200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558081" y="4258955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5061465" y="1477881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5061465" y="18928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4328531" y="1477881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5061465" y="2868418"/>
            <a:ext cx="2759201" cy="3765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5061465" y="325517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4328531" y="2868418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5061465" y="4258955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5061465" y="4646200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4328531" y="4258955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88" name="Tijdelijke aanduiding voor tekst 35"/>
          <p:cNvSpPr>
            <a:spLocks noGrp="1"/>
          </p:cNvSpPr>
          <p:nvPr>
            <p:ph type="body" sz="quarter" idx="53" hasCustomPrompt="1"/>
          </p:nvPr>
        </p:nvSpPr>
        <p:spPr>
          <a:xfrm>
            <a:off x="8891403" y="1477881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9" name="Tijdelijke aanduiding voor tekst 37"/>
          <p:cNvSpPr>
            <a:spLocks noGrp="1"/>
          </p:cNvSpPr>
          <p:nvPr>
            <p:ph type="body" sz="quarter" idx="54" hasCustomPrompt="1"/>
          </p:nvPr>
        </p:nvSpPr>
        <p:spPr>
          <a:xfrm>
            <a:off x="8891403" y="18928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90" name="Tijdelijke aanduiding voor tekst 71"/>
          <p:cNvSpPr>
            <a:spLocks noGrp="1"/>
          </p:cNvSpPr>
          <p:nvPr>
            <p:ph type="body" sz="quarter" idx="55" hasCustomPrompt="1"/>
          </p:nvPr>
        </p:nvSpPr>
        <p:spPr>
          <a:xfrm>
            <a:off x="8158469" y="1477881"/>
            <a:ext cx="678534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91" name="Tijdelijke aanduiding voor tekst 35"/>
          <p:cNvSpPr>
            <a:spLocks noGrp="1"/>
          </p:cNvSpPr>
          <p:nvPr>
            <p:ph type="body" sz="quarter" idx="56" hasCustomPrompt="1"/>
          </p:nvPr>
        </p:nvSpPr>
        <p:spPr>
          <a:xfrm>
            <a:off x="8891403" y="2868418"/>
            <a:ext cx="2759201" cy="3765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92" name="Tijdelijke aanduiding voor tekst 37"/>
          <p:cNvSpPr>
            <a:spLocks noGrp="1"/>
          </p:cNvSpPr>
          <p:nvPr>
            <p:ph type="body" sz="quarter" idx="57" hasCustomPrompt="1"/>
          </p:nvPr>
        </p:nvSpPr>
        <p:spPr>
          <a:xfrm>
            <a:off x="8891403" y="325517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93" name="Tijdelijke aanduiding voor tekst 71"/>
          <p:cNvSpPr>
            <a:spLocks noGrp="1"/>
          </p:cNvSpPr>
          <p:nvPr>
            <p:ph type="body" sz="quarter" idx="58" hasCustomPrompt="1"/>
          </p:nvPr>
        </p:nvSpPr>
        <p:spPr>
          <a:xfrm>
            <a:off x="8158469" y="2868418"/>
            <a:ext cx="678534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94" name="Tijdelijke aanduiding voor tekst 35"/>
          <p:cNvSpPr>
            <a:spLocks noGrp="1"/>
          </p:cNvSpPr>
          <p:nvPr>
            <p:ph type="body" sz="quarter" idx="59" hasCustomPrompt="1"/>
          </p:nvPr>
        </p:nvSpPr>
        <p:spPr>
          <a:xfrm>
            <a:off x="8891403" y="4258955"/>
            <a:ext cx="2759201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95" name="Tijdelijke aanduiding voor tekst 37"/>
          <p:cNvSpPr>
            <a:spLocks noGrp="1"/>
          </p:cNvSpPr>
          <p:nvPr>
            <p:ph type="body" sz="quarter" idx="60" hasCustomPrompt="1"/>
          </p:nvPr>
        </p:nvSpPr>
        <p:spPr>
          <a:xfrm>
            <a:off x="8891403" y="4646200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96" name="Tijdelijke aanduiding voor tekst 71"/>
          <p:cNvSpPr>
            <a:spLocks noGrp="1"/>
          </p:cNvSpPr>
          <p:nvPr>
            <p:ph type="body" sz="quarter" idx="61" hasCustomPrompt="1"/>
          </p:nvPr>
        </p:nvSpPr>
        <p:spPr>
          <a:xfrm>
            <a:off x="8158469" y="4258955"/>
            <a:ext cx="678534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A8FA3C3-982D-4FF0-AC3B-7CEC4B93EA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600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702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498201"/>
            <a:ext cx="3494215" cy="36032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6079237" y="1457561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7" y="1896933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888738"/>
            <a:ext cx="3494215" cy="356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7" y="3265333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279275"/>
            <a:ext cx="3494215" cy="356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7" y="4655870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6994489" y="1498201"/>
            <a:ext cx="3724311" cy="36032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6994489" y="1896933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6261555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6994489" y="2888738"/>
            <a:ext cx="3724311" cy="356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6994489" y="3265333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6261555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6994489" y="4279275"/>
            <a:ext cx="3724311" cy="356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6994489" y="4655870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6261555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283E8B5-1FFF-4454-AAA0-2B6D46348C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600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496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498201"/>
            <a:ext cx="6364794" cy="36032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6" y="1877251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888738"/>
            <a:ext cx="636479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6" y="3267788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279275"/>
            <a:ext cx="6364794" cy="356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6" y="4658325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xtra text</a:t>
            </a:r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nr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4D8B13C-D7AD-40E5-AB16-80CE14088C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600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7854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ep 1">
            <a:extLst>
              <a:ext uri="{FF2B5EF4-FFF2-40B4-BE49-F238E27FC236}">
                <a16:creationId xmlns:a16="http://schemas.microsoft.com/office/drawing/2014/main" id="{90C0BC2C-E703-407C-8C07-F08C1589AEE4}"/>
              </a:ext>
            </a:extLst>
          </p:cNvPr>
          <p:cNvGrpSpPr/>
          <p:nvPr userDrawn="1"/>
        </p:nvGrpSpPr>
        <p:grpSpPr>
          <a:xfrm>
            <a:off x="2895600" y="2275777"/>
            <a:ext cx="6400800" cy="2306446"/>
            <a:chOff x="2895600" y="2275777"/>
            <a:chExt cx="6400800" cy="2306446"/>
          </a:xfrm>
        </p:grpSpPr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CA9E3DDA-395C-4DDD-B1D8-656220373C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95600" y="2275777"/>
              <a:ext cx="2087583" cy="2306446"/>
            </a:xfrm>
            <a:custGeom>
              <a:avLst/>
              <a:gdLst>
                <a:gd name="connsiteX0" fmla="*/ 1712156 w 2087583"/>
                <a:gd name="connsiteY0" fmla="*/ 643111 h 2306446"/>
                <a:gd name="connsiteX1" fmla="*/ 1888927 w 2087583"/>
                <a:gd name="connsiteY1" fmla="*/ 1190261 h 2306446"/>
                <a:gd name="connsiteX2" fmla="*/ 1540435 w 2087583"/>
                <a:gd name="connsiteY2" fmla="*/ 1183527 h 2306446"/>
                <a:gd name="connsiteX3" fmla="*/ 1725623 w 2087583"/>
                <a:gd name="connsiteY3" fmla="*/ 0 h 2306446"/>
                <a:gd name="connsiteX4" fmla="*/ 1841787 w 2087583"/>
                <a:gd name="connsiteY4" fmla="*/ 348492 h 2306446"/>
                <a:gd name="connsiteX5" fmla="*/ 1587573 w 2087583"/>
                <a:gd name="connsiteY5" fmla="*/ 348492 h 2306446"/>
                <a:gd name="connsiteX6" fmla="*/ 1176791 w 2087583"/>
                <a:gd name="connsiteY6" fmla="*/ 1580842 h 2306446"/>
                <a:gd name="connsiteX7" fmla="*/ 1424271 w 2087583"/>
                <a:gd name="connsiteY7" fmla="*/ 1580842 h 2306446"/>
                <a:gd name="connsiteX8" fmla="*/ 1478144 w 2087583"/>
                <a:gd name="connsiteY8" fmla="*/ 1388918 h 2306446"/>
                <a:gd name="connsiteX9" fmla="*/ 1957951 w 2087583"/>
                <a:gd name="connsiteY9" fmla="*/ 1388918 h 2306446"/>
                <a:gd name="connsiteX10" fmla="*/ 2087583 w 2087583"/>
                <a:gd name="connsiteY10" fmla="*/ 1806436 h 2306446"/>
                <a:gd name="connsiteX11" fmla="*/ 569035 w 2087583"/>
                <a:gd name="connsiteY11" fmla="*/ 2306446 h 2306446"/>
                <a:gd name="connsiteX12" fmla="*/ 0 w 2087583"/>
                <a:gd name="connsiteY12" fmla="*/ 567352 h 2306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87583" h="2306446">
                  <a:moveTo>
                    <a:pt x="1712156" y="643111"/>
                  </a:moveTo>
                  <a:lnTo>
                    <a:pt x="1888927" y="1190261"/>
                  </a:lnTo>
                  <a:lnTo>
                    <a:pt x="1540435" y="1183527"/>
                  </a:lnTo>
                  <a:close/>
                  <a:moveTo>
                    <a:pt x="1725623" y="0"/>
                  </a:moveTo>
                  <a:lnTo>
                    <a:pt x="1841787" y="348492"/>
                  </a:lnTo>
                  <a:lnTo>
                    <a:pt x="1587573" y="348492"/>
                  </a:lnTo>
                  <a:lnTo>
                    <a:pt x="1176791" y="1580842"/>
                  </a:lnTo>
                  <a:lnTo>
                    <a:pt x="1424271" y="1580842"/>
                  </a:lnTo>
                  <a:lnTo>
                    <a:pt x="1478144" y="1388918"/>
                  </a:lnTo>
                  <a:lnTo>
                    <a:pt x="1957951" y="1388918"/>
                  </a:lnTo>
                  <a:lnTo>
                    <a:pt x="2087583" y="1806436"/>
                  </a:lnTo>
                  <a:lnTo>
                    <a:pt x="569035" y="2306446"/>
                  </a:lnTo>
                  <a:lnTo>
                    <a:pt x="0" y="5673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nl-NL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CB442A-9BFA-4C2F-8B09-4981059B3B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6044" y="2639421"/>
              <a:ext cx="888906" cy="1210464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2076A068-17F1-4D27-957C-9CFB21F477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5202" y="2639421"/>
              <a:ext cx="951198" cy="1203730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B41E182A-3121-41A6-8205-38D2B4728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40103" y="2604067"/>
              <a:ext cx="1067361" cy="1272754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89A2F69-5ED1-498D-A0B0-57D4FA4EF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0564" y="2597333"/>
              <a:ext cx="1143121" cy="1272754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5A13FF52-B406-4569-A479-67CEFA7F79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37397" y="4151237"/>
              <a:ext cx="3319930" cy="122899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150471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1944546"/>
            <a:ext cx="10531475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3611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 userDrawn="1">
          <p15:clr>
            <a:srgbClr val="FBAE40"/>
          </p15:clr>
        </p15:guide>
        <p15:guide id="2" orient="horz" pos="32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29188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1" y="389402"/>
            <a:ext cx="11582400" cy="524998"/>
          </a:xfrm>
        </p:spPr>
        <p:txBody>
          <a:bodyPr lIns="91440" rIns="91440" anchor="t" anchorCtr="0"/>
          <a:lstStyle>
            <a:lvl1pPr>
              <a:defRPr sz="2400">
                <a:solidFill>
                  <a:srgbClr val="000000"/>
                </a:solidFill>
                <a:latin typeface="Calibri"/>
                <a:cs typeface="Calibri"/>
              </a:defRPr>
            </a:lvl1pPr>
          </a:lstStyle>
          <a:p>
            <a:r>
              <a:rPr lang="en-US" dirty="0"/>
              <a:t>Click to edit slide headlin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304801" y="995852"/>
            <a:ext cx="11582400" cy="29954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rgbClr val="F37021"/>
                </a:solidFill>
                <a:latin typeface="Georgia"/>
                <a:cs typeface="Georg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subheading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04800" y="76200"/>
            <a:ext cx="11582400" cy="304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200" b="1" i="0" cap="all">
                <a:solidFill>
                  <a:srgbClr val="F37021"/>
                </a:solidFill>
                <a:latin typeface="Calibri"/>
                <a:cs typeface="Calibr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section heading</a:t>
            </a:r>
          </a:p>
        </p:txBody>
      </p:sp>
      <p:sp>
        <p:nvSpPr>
          <p:cNvPr id="6" name="Rectangle 5"/>
          <p:cNvSpPr/>
          <p:nvPr userDrawn="1"/>
        </p:nvSpPr>
        <p:spPr>
          <a:xfrm rot="5400000">
            <a:off x="6019809" y="-1142999"/>
            <a:ext cx="152401" cy="2438400"/>
          </a:xfrm>
          <a:prstGeom prst="rect">
            <a:avLst/>
          </a:prstGeom>
          <a:solidFill>
            <a:srgbClr val="F37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00" dirty="0" err="1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86456130"/>
      </p:ext>
    </p:extLst>
  </p:cSld>
  <p:clrMapOvr>
    <a:masterClrMapping/>
  </p:clrMapOvr>
  <p:transition spd="slow">
    <p:push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28600"/>
            <a:ext cx="304800" cy="990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33867" y="381000"/>
            <a:ext cx="12225867" cy="533400"/>
          </a:xfrm>
        </p:spPr>
        <p:txBody>
          <a:bodyPr anchor="t" anchorCtr="0"/>
          <a:lstStyle>
            <a:lvl1pPr algn="ctr">
              <a:defRPr sz="2400" baseline="0"/>
            </a:lvl1pPr>
          </a:lstStyle>
          <a:p>
            <a:r>
              <a:rPr lang="en-US" dirty="0"/>
              <a:t>Click to edit slide headlin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0" y="76200"/>
            <a:ext cx="12192000" cy="304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400" b="0" i="0" cap="all">
                <a:solidFill>
                  <a:srgbClr val="64645D"/>
                </a:solidFill>
                <a:latin typeface="Calibri"/>
                <a:cs typeface="Calibri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section heading</a:t>
            </a:r>
          </a:p>
        </p:txBody>
      </p:sp>
      <p:sp>
        <p:nvSpPr>
          <p:cNvPr id="6" name="Rectangle 5"/>
          <p:cNvSpPr/>
          <p:nvPr userDrawn="1"/>
        </p:nvSpPr>
        <p:spPr>
          <a:xfrm rot="5400000">
            <a:off x="6019802" y="-1142999"/>
            <a:ext cx="152401" cy="2438400"/>
          </a:xfrm>
          <a:prstGeom prst="rect">
            <a:avLst/>
          </a:prstGeom>
          <a:solidFill>
            <a:srgbClr val="F37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37343519"/>
      </p:ext>
    </p:extLst>
  </p:cSld>
  <p:clrMapOvr>
    <a:masterClrMapping/>
  </p:clrMapOvr>
  <p:transition spd="slow">
    <p:push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C568EA51-E381-4FE1-8966-210825EC768D}"/>
              </a:ext>
            </a:extLst>
          </p:cNvPr>
          <p:cNvSpPr/>
          <p:nvPr userDrawn="1"/>
        </p:nvSpPr>
        <p:spPr>
          <a:xfrm>
            <a:off x="-11575" y="-11575"/>
            <a:ext cx="6238755" cy="6875362"/>
          </a:xfrm>
          <a:custGeom>
            <a:avLst/>
            <a:gdLst>
              <a:gd name="connsiteX0" fmla="*/ 0 w 6238755"/>
              <a:gd name="connsiteY0" fmla="*/ 0 h 6875362"/>
              <a:gd name="connsiteX1" fmla="*/ 6238755 w 6238755"/>
              <a:gd name="connsiteY1" fmla="*/ 0 h 6875362"/>
              <a:gd name="connsiteX2" fmla="*/ 4155312 w 6238755"/>
              <a:gd name="connsiteY2" fmla="*/ 6875362 h 6875362"/>
              <a:gd name="connsiteX3" fmla="*/ 0 w 6238755"/>
              <a:gd name="connsiteY3" fmla="*/ 6875362 h 6875362"/>
              <a:gd name="connsiteX4" fmla="*/ 0 w 6238755"/>
              <a:gd name="connsiteY4" fmla="*/ 0 h 687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8755" h="6875362">
                <a:moveTo>
                  <a:pt x="0" y="0"/>
                </a:moveTo>
                <a:lnTo>
                  <a:pt x="6238755" y="0"/>
                </a:lnTo>
                <a:lnTo>
                  <a:pt x="4155312" y="6875362"/>
                </a:lnTo>
                <a:lnTo>
                  <a:pt x="0" y="68753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18" y="1458410"/>
            <a:ext cx="4862858" cy="2152893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9" y="5950344"/>
            <a:ext cx="3708862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8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City, Country, Date, Year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4016418"/>
            <a:ext cx="4293504" cy="79865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buNone/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/>
              <a:t>Name Speaker</a:t>
            </a:r>
          </a:p>
          <a:p>
            <a:pPr lvl="1"/>
            <a:r>
              <a:rPr lang="en-US"/>
              <a:t>Department or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D9F81BE-1CEF-4A31-9523-3D1E7E8320C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121150" y="-23151"/>
            <a:ext cx="8070850" cy="6886938"/>
          </a:xfrm>
          <a:custGeom>
            <a:avLst/>
            <a:gdLst>
              <a:gd name="connsiteX0" fmla="*/ 0 w 8070850"/>
              <a:gd name="connsiteY0" fmla="*/ 0 h 6869575"/>
              <a:gd name="connsiteX1" fmla="*/ 8070850 w 8070850"/>
              <a:gd name="connsiteY1" fmla="*/ 0 h 6869575"/>
              <a:gd name="connsiteX2" fmla="*/ 8070850 w 8070850"/>
              <a:gd name="connsiteY2" fmla="*/ 6869575 h 6869575"/>
              <a:gd name="connsiteX3" fmla="*/ 0 w 8070850"/>
              <a:gd name="connsiteY3" fmla="*/ 6869575 h 6869575"/>
              <a:gd name="connsiteX4" fmla="*/ 0 w 8070850"/>
              <a:gd name="connsiteY4" fmla="*/ 0 h 6869575"/>
              <a:gd name="connsiteX0" fmla="*/ 2095017 w 8070850"/>
              <a:gd name="connsiteY0" fmla="*/ 0 h 6881150"/>
              <a:gd name="connsiteX1" fmla="*/ 8070850 w 8070850"/>
              <a:gd name="connsiteY1" fmla="*/ 11575 h 6881150"/>
              <a:gd name="connsiteX2" fmla="*/ 8070850 w 8070850"/>
              <a:gd name="connsiteY2" fmla="*/ 6881150 h 6881150"/>
              <a:gd name="connsiteX3" fmla="*/ 0 w 8070850"/>
              <a:gd name="connsiteY3" fmla="*/ 6881150 h 6881150"/>
              <a:gd name="connsiteX4" fmla="*/ 2095017 w 8070850"/>
              <a:gd name="connsiteY4" fmla="*/ 0 h 6881150"/>
              <a:gd name="connsiteX0" fmla="*/ 2095017 w 8070850"/>
              <a:gd name="connsiteY0" fmla="*/ 0 h 6886938"/>
              <a:gd name="connsiteX1" fmla="*/ 8070850 w 8070850"/>
              <a:gd name="connsiteY1" fmla="*/ 11575 h 6886938"/>
              <a:gd name="connsiteX2" fmla="*/ 8070850 w 8070850"/>
              <a:gd name="connsiteY2" fmla="*/ 6881150 h 6886938"/>
              <a:gd name="connsiteX3" fmla="*/ 7094718 w 8070850"/>
              <a:gd name="connsiteY3" fmla="*/ 6886938 h 6886938"/>
              <a:gd name="connsiteX4" fmla="*/ 0 w 8070850"/>
              <a:gd name="connsiteY4" fmla="*/ 6881150 h 6886938"/>
              <a:gd name="connsiteX5" fmla="*/ 2095017 w 8070850"/>
              <a:gd name="connsiteY5" fmla="*/ 0 h 6886938"/>
              <a:gd name="connsiteX0" fmla="*/ 2095017 w 8070850"/>
              <a:gd name="connsiteY0" fmla="*/ 0 h 6886938"/>
              <a:gd name="connsiteX1" fmla="*/ 8070850 w 8070850"/>
              <a:gd name="connsiteY1" fmla="*/ 11575 h 6886938"/>
              <a:gd name="connsiteX2" fmla="*/ 8070850 w 8070850"/>
              <a:gd name="connsiteY2" fmla="*/ 3570791 h 6886938"/>
              <a:gd name="connsiteX3" fmla="*/ 7094718 w 8070850"/>
              <a:gd name="connsiteY3" fmla="*/ 6886938 h 6886938"/>
              <a:gd name="connsiteX4" fmla="*/ 0 w 8070850"/>
              <a:gd name="connsiteY4" fmla="*/ 6881150 h 6886938"/>
              <a:gd name="connsiteX5" fmla="*/ 2095017 w 8070850"/>
              <a:gd name="connsiteY5" fmla="*/ 0 h 6886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70850" h="6886938">
                <a:moveTo>
                  <a:pt x="2095017" y="0"/>
                </a:moveTo>
                <a:lnTo>
                  <a:pt x="8070850" y="11575"/>
                </a:lnTo>
                <a:lnTo>
                  <a:pt x="8070850" y="3570791"/>
                </a:lnTo>
                <a:lnTo>
                  <a:pt x="7094718" y="6886938"/>
                </a:lnTo>
                <a:lnTo>
                  <a:pt x="0" y="6881150"/>
                </a:lnTo>
                <a:lnTo>
                  <a:pt x="2095017" y="0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l">
              <a:buNone/>
              <a:defRPr lang="nl-NL" sz="1600"/>
            </a:lvl1pPr>
          </a:lstStyle>
          <a:p>
            <a:pPr marL="228600" lvl="0" indent="-228600" algn="ctr"/>
            <a:r>
              <a:rPr lang="nl-NL"/>
              <a:t>Click icon to insert an image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006A9B49-8AED-450F-A00B-44250A03E26A}"/>
              </a:ext>
            </a:extLst>
          </p:cNvPr>
          <p:cNvSpPr/>
          <p:nvPr userDrawn="1"/>
        </p:nvSpPr>
        <p:spPr>
          <a:xfrm>
            <a:off x="11212945" y="3454400"/>
            <a:ext cx="979055" cy="34036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7E610D-E145-4D1E-A445-1C611A5DA4A9}"/>
              </a:ext>
            </a:extLst>
          </p:cNvPr>
          <p:cNvSpPr txBox="1"/>
          <p:nvPr userDrawn="1"/>
        </p:nvSpPr>
        <p:spPr>
          <a:xfrm>
            <a:off x="483986" y="6170897"/>
            <a:ext cx="5181214" cy="364908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sz="1000" b="1" i="1" dirty="0">
                <a:solidFill>
                  <a:srgbClr val="0069B4"/>
                </a:solidFill>
                <a:cs typeface="Arial" panose="020B0604020202020204" pitchFamily="34" charset="0"/>
              </a:rPr>
              <a:t>Helping people achieve a lifetime of financial securit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8A88978-7913-4E90-B288-9AE500E16E20}"/>
              </a:ext>
            </a:extLst>
          </p:cNvPr>
          <p:cNvGrpSpPr/>
          <p:nvPr userDrawn="1"/>
        </p:nvGrpSpPr>
        <p:grpSpPr>
          <a:xfrm>
            <a:off x="588818" y="602856"/>
            <a:ext cx="1481679" cy="533904"/>
            <a:chOff x="3078163" y="2341563"/>
            <a:chExt cx="6035676" cy="217487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4B07133-BDCF-4DEF-8328-AE61E51008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4A9B9578-5B96-4DA5-ACA4-C4D7220453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D6CC141-220C-4F40-BE1F-E52274F5C7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7053CB1B-931C-46EF-BC8C-C7ABEE87B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ADD7239-E20E-4B00-BD99-3CAC4A3277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93317C15-03B3-4EEE-BA26-DEA037A24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6E663A55-7BBF-40D7-8EDD-6AE1C3FAC4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114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/>
      <p:bldP spid="9" grpId="0" animBg="1"/>
    </p:bldLst>
  </p:timing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1944546"/>
            <a:ext cx="10531475" cy="4120588"/>
          </a:xfrm>
          <a:prstGeom prst="rect">
            <a:avLst/>
          </a:prstGeom>
        </p:spPr>
        <p:txBody>
          <a:bodyPr l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2532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1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1435261"/>
            <a:ext cx="10531475" cy="4629873"/>
          </a:xfrm>
          <a:prstGeom prst="rect">
            <a:avLst/>
          </a:prstGeom>
        </p:spPr>
        <p:txBody>
          <a:bodyPr l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2054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8788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orient="horz" pos="406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7253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orient="horz" pos="406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D3500D30-49DD-4578-8F27-3D8D9C43D2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1113" y="-11113"/>
            <a:ext cx="7105651" cy="6869113"/>
          </a:xfrm>
          <a:custGeom>
            <a:avLst/>
            <a:gdLst>
              <a:gd name="connsiteX0" fmla="*/ 0 w 7105651"/>
              <a:gd name="connsiteY0" fmla="*/ 0 h 6869113"/>
              <a:gd name="connsiteX1" fmla="*/ 7105651 w 7105651"/>
              <a:gd name="connsiteY1" fmla="*/ 0 h 6869113"/>
              <a:gd name="connsiteX2" fmla="*/ 7105651 w 7105651"/>
              <a:gd name="connsiteY2" fmla="*/ 6869113 h 6869113"/>
              <a:gd name="connsiteX3" fmla="*/ 0 w 7105651"/>
              <a:gd name="connsiteY3" fmla="*/ 6869113 h 6869113"/>
              <a:gd name="connsiteX4" fmla="*/ 0 w 7105651"/>
              <a:gd name="connsiteY4" fmla="*/ 0 h 6869113"/>
              <a:gd name="connsiteX0" fmla="*/ 0 w 7105651"/>
              <a:gd name="connsiteY0" fmla="*/ 0 h 6869113"/>
              <a:gd name="connsiteX1" fmla="*/ 7105651 w 7105651"/>
              <a:gd name="connsiteY1" fmla="*/ 0 h 6869113"/>
              <a:gd name="connsiteX2" fmla="*/ 4732841 w 7105651"/>
              <a:gd name="connsiteY2" fmla="*/ 6869113 h 6869113"/>
              <a:gd name="connsiteX3" fmla="*/ 0 w 7105651"/>
              <a:gd name="connsiteY3" fmla="*/ 6869113 h 6869113"/>
              <a:gd name="connsiteX4" fmla="*/ 0 w 7105651"/>
              <a:gd name="connsiteY4" fmla="*/ 0 h 6869113"/>
              <a:gd name="connsiteX0" fmla="*/ 0 w 7105651"/>
              <a:gd name="connsiteY0" fmla="*/ 0 h 6869113"/>
              <a:gd name="connsiteX1" fmla="*/ 7105651 w 7105651"/>
              <a:gd name="connsiteY1" fmla="*/ 0 h 6869113"/>
              <a:gd name="connsiteX2" fmla="*/ 5080081 w 7105651"/>
              <a:gd name="connsiteY2" fmla="*/ 6845964 h 6869113"/>
              <a:gd name="connsiteX3" fmla="*/ 0 w 7105651"/>
              <a:gd name="connsiteY3" fmla="*/ 6869113 h 6869113"/>
              <a:gd name="connsiteX4" fmla="*/ 0 w 7105651"/>
              <a:gd name="connsiteY4" fmla="*/ 0 h 6869113"/>
              <a:gd name="connsiteX0" fmla="*/ 0 w 7105651"/>
              <a:gd name="connsiteY0" fmla="*/ 0 h 6869113"/>
              <a:gd name="connsiteX1" fmla="*/ 7105651 w 7105651"/>
              <a:gd name="connsiteY1" fmla="*/ 0 h 6869113"/>
              <a:gd name="connsiteX2" fmla="*/ 5080081 w 7105651"/>
              <a:gd name="connsiteY2" fmla="*/ 6857538 h 6869113"/>
              <a:gd name="connsiteX3" fmla="*/ 0 w 7105651"/>
              <a:gd name="connsiteY3" fmla="*/ 6869113 h 6869113"/>
              <a:gd name="connsiteX4" fmla="*/ 0 w 7105651"/>
              <a:gd name="connsiteY4" fmla="*/ 0 h 6869113"/>
              <a:gd name="connsiteX0" fmla="*/ 0 w 7105651"/>
              <a:gd name="connsiteY0" fmla="*/ 0 h 6869113"/>
              <a:gd name="connsiteX1" fmla="*/ 7105651 w 7105651"/>
              <a:gd name="connsiteY1" fmla="*/ 0 h 6869113"/>
              <a:gd name="connsiteX2" fmla="*/ 5080081 w 7105651"/>
              <a:gd name="connsiteY2" fmla="*/ 6869113 h 6869113"/>
              <a:gd name="connsiteX3" fmla="*/ 0 w 7105651"/>
              <a:gd name="connsiteY3" fmla="*/ 6869113 h 6869113"/>
              <a:gd name="connsiteX4" fmla="*/ 0 w 7105651"/>
              <a:gd name="connsiteY4" fmla="*/ 0 h 686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05651" h="6869113">
                <a:moveTo>
                  <a:pt x="0" y="0"/>
                </a:moveTo>
                <a:lnTo>
                  <a:pt x="7105651" y="0"/>
                </a:lnTo>
                <a:lnTo>
                  <a:pt x="5080081" y="6869113"/>
                </a:lnTo>
                <a:lnTo>
                  <a:pt x="0" y="6869113"/>
                </a:lnTo>
                <a:lnTo>
                  <a:pt x="0" y="0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nl-NL"/>
              <a:t>Click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9454" y="1458410"/>
            <a:ext cx="4862858" cy="2152893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006A9B49-8AED-450F-A00B-44250A03E26A}"/>
              </a:ext>
            </a:extLst>
          </p:cNvPr>
          <p:cNvSpPr/>
          <p:nvPr userDrawn="1"/>
        </p:nvSpPr>
        <p:spPr>
          <a:xfrm>
            <a:off x="11212945" y="3454400"/>
            <a:ext cx="979055" cy="34036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21" name="Rechthoek 6">
            <a:extLst>
              <a:ext uri="{FF2B5EF4-FFF2-40B4-BE49-F238E27FC236}">
                <a16:creationId xmlns:a16="http://schemas.microsoft.com/office/drawing/2014/main" id="{1A65DB7A-5092-4396-A37B-193C8DC3AFD3}"/>
              </a:ext>
            </a:extLst>
          </p:cNvPr>
          <p:cNvSpPr/>
          <p:nvPr userDrawn="1"/>
        </p:nvSpPr>
        <p:spPr>
          <a:xfrm>
            <a:off x="11651935" y="6259335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FEC5561-0D1D-48CD-9857-C6F2175A0034}"/>
              </a:ext>
            </a:extLst>
          </p:cNvPr>
          <p:cNvGrpSpPr/>
          <p:nvPr userDrawn="1"/>
        </p:nvGrpSpPr>
        <p:grpSpPr>
          <a:xfrm>
            <a:off x="10422255" y="6286500"/>
            <a:ext cx="693334" cy="249834"/>
            <a:chOff x="3078163" y="2341563"/>
            <a:chExt cx="6035676" cy="217487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2CF1C0AB-2340-43C1-BA25-042D125744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F98D281-DE49-4E93-B406-2BD8838AE4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96BF50F2-0F4D-4E09-91A9-7168DF2C52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73F4D8E-E8EB-44B1-9D1B-50EB8D93F6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2997CEF5-AF3F-4824-B002-420B2ABD90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7D747C3B-8656-4D8A-B48E-243D5FF3D4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DF60A912-7DDF-4D79-85CA-DF822EEA99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304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" grpId="0"/>
    </p:bldLst>
  </p:timing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6E84C82-2EBD-4081-BBC7-80B159D802B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00421" y="-23151"/>
            <a:ext cx="6091579" cy="6886938"/>
          </a:xfrm>
          <a:custGeom>
            <a:avLst/>
            <a:gdLst>
              <a:gd name="connsiteX0" fmla="*/ 0 w 8070850"/>
              <a:gd name="connsiteY0" fmla="*/ 0 h 6869575"/>
              <a:gd name="connsiteX1" fmla="*/ 8070850 w 8070850"/>
              <a:gd name="connsiteY1" fmla="*/ 0 h 6869575"/>
              <a:gd name="connsiteX2" fmla="*/ 8070850 w 8070850"/>
              <a:gd name="connsiteY2" fmla="*/ 6869575 h 6869575"/>
              <a:gd name="connsiteX3" fmla="*/ 0 w 8070850"/>
              <a:gd name="connsiteY3" fmla="*/ 6869575 h 6869575"/>
              <a:gd name="connsiteX4" fmla="*/ 0 w 8070850"/>
              <a:gd name="connsiteY4" fmla="*/ 0 h 6869575"/>
              <a:gd name="connsiteX0" fmla="*/ 2095017 w 8070850"/>
              <a:gd name="connsiteY0" fmla="*/ 0 h 6881150"/>
              <a:gd name="connsiteX1" fmla="*/ 8070850 w 8070850"/>
              <a:gd name="connsiteY1" fmla="*/ 11575 h 6881150"/>
              <a:gd name="connsiteX2" fmla="*/ 8070850 w 8070850"/>
              <a:gd name="connsiteY2" fmla="*/ 6881150 h 6881150"/>
              <a:gd name="connsiteX3" fmla="*/ 0 w 8070850"/>
              <a:gd name="connsiteY3" fmla="*/ 6881150 h 6881150"/>
              <a:gd name="connsiteX4" fmla="*/ 2095017 w 8070850"/>
              <a:gd name="connsiteY4" fmla="*/ 0 h 6881150"/>
              <a:gd name="connsiteX0" fmla="*/ 2095017 w 8070850"/>
              <a:gd name="connsiteY0" fmla="*/ 0 h 6886938"/>
              <a:gd name="connsiteX1" fmla="*/ 8070850 w 8070850"/>
              <a:gd name="connsiteY1" fmla="*/ 11575 h 6886938"/>
              <a:gd name="connsiteX2" fmla="*/ 8070850 w 8070850"/>
              <a:gd name="connsiteY2" fmla="*/ 6881150 h 6886938"/>
              <a:gd name="connsiteX3" fmla="*/ 7094718 w 8070850"/>
              <a:gd name="connsiteY3" fmla="*/ 6886938 h 6886938"/>
              <a:gd name="connsiteX4" fmla="*/ 0 w 8070850"/>
              <a:gd name="connsiteY4" fmla="*/ 6881150 h 6886938"/>
              <a:gd name="connsiteX5" fmla="*/ 2095017 w 8070850"/>
              <a:gd name="connsiteY5" fmla="*/ 0 h 6886938"/>
              <a:gd name="connsiteX0" fmla="*/ 2095017 w 8070850"/>
              <a:gd name="connsiteY0" fmla="*/ 0 h 6886938"/>
              <a:gd name="connsiteX1" fmla="*/ 8070850 w 8070850"/>
              <a:gd name="connsiteY1" fmla="*/ 11575 h 6886938"/>
              <a:gd name="connsiteX2" fmla="*/ 8070850 w 8070850"/>
              <a:gd name="connsiteY2" fmla="*/ 3570791 h 6886938"/>
              <a:gd name="connsiteX3" fmla="*/ 7094718 w 8070850"/>
              <a:gd name="connsiteY3" fmla="*/ 6886938 h 6886938"/>
              <a:gd name="connsiteX4" fmla="*/ 0 w 8070850"/>
              <a:gd name="connsiteY4" fmla="*/ 6881150 h 6886938"/>
              <a:gd name="connsiteX5" fmla="*/ 2095017 w 8070850"/>
              <a:gd name="connsiteY5" fmla="*/ 0 h 6886938"/>
              <a:gd name="connsiteX0" fmla="*/ 3923817 w 8070850"/>
              <a:gd name="connsiteY0" fmla="*/ 0 h 6886938"/>
              <a:gd name="connsiteX1" fmla="*/ 8070850 w 8070850"/>
              <a:gd name="connsiteY1" fmla="*/ 11575 h 6886938"/>
              <a:gd name="connsiteX2" fmla="*/ 8070850 w 8070850"/>
              <a:gd name="connsiteY2" fmla="*/ 3570791 h 6886938"/>
              <a:gd name="connsiteX3" fmla="*/ 7094718 w 8070850"/>
              <a:gd name="connsiteY3" fmla="*/ 6886938 h 6886938"/>
              <a:gd name="connsiteX4" fmla="*/ 0 w 8070850"/>
              <a:gd name="connsiteY4" fmla="*/ 6881150 h 6886938"/>
              <a:gd name="connsiteX5" fmla="*/ 3923817 w 8070850"/>
              <a:gd name="connsiteY5" fmla="*/ 0 h 6886938"/>
              <a:gd name="connsiteX0" fmla="*/ 1944546 w 6091579"/>
              <a:gd name="connsiteY0" fmla="*/ 0 h 6886938"/>
              <a:gd name="connsiteX1" fmla="*/ 6091579 w 6091579"/>
              <a:gd name="connsiteY1" fmla="*/ 11575 h 6886938"/>
              <a:gd name="connsiteX2" fmla="*/ 6091579 w 6091579"/>
              <a:gd name="connsiteY2" fmla="*/ 3570791 h 6886938"/>
              <a:gd name="connsiteX3" fmla="*/ 5115447 w 6091579"/>
              <a:gd name="connsiteY3" fmla="*/ 6886938 h 6886938"/>
              <a:gd name="connsiteX4" fmla="*/ 0 w 6091579"/>
              <a:gd name="connsiteY4" fmla="*/ 6881150 h 6886938"/>
              <a:gd name="connsiteX5" fmla="*/ 1944546 w 6091579"/>
              <a:gd name="connsiteY5" fmla="*/ 0 h 6886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1579" h="6886938">
                <a:moveTo>
                  <a:pt x="1944546" y="0"/>
                </a:moveTo>
                <a:lnTo>
                  <a:pt x="6091579" y="11575"/>
                </a:lnTo>
                <a:lnTo>
                  <a:pt x="6091579" y="3570791"/>
                </a:lnTo>
                <a:lnTo>
                  <a:pt x="5115447" y="6886938"/>
                </a:lnTo>
                <a:lnTo>
                  <a:pt x="0" y="6881150"/>
                </a:lnTo>
                <a:lnTo>
                  <a:pt x="1944546" y="0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nl-NL"/>
              <a:t>Click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7143071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5511603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6955681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6735762" cy="4120588"/>
          </a:xfrm>
          <a:prstGeom prst="rect">
            <a:avLst/>
          </a:prstGeom>
        </p:spPr>
        <p:txBody>
          <a:bodyPr l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0982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1435261"/>
            <a:ext cx="10531475" cy="462987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97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7502678" cy="4120588"/>
          </a:xfrm>
          <a:prstGeom prst="rect">
            <a:avLst/>
          </a:prstGeom>
        </p:spPr>
        <p:txBody>
          <a:bodyPr l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  <p:pic>
        <p:nvPicPr>
          <p:cNvPr id="8" name="Picture 7" descr="Android.png">
            <a:extLst>
              <a:ext uri="{FF2B5EF4-FFF2-40B4-BE49-F238E27FC236}">
                <a16:creationId xmlns:a16="http://schemas.microsoft.com/office/drawing/2014/main" id="{697FABA5-4118-4203-BA93-DBCD7FC450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B00AF0-3BFA-4AC7-AB36-69D01C90D6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747760" y="2174240"/>
            <a:ext cx="1955800" cy="3281679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nl-NL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425468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7" descr="ipad.png">
            <a:extLst>
              <a:ext uri="{FF2B5EF4-FFF2-40B4-BE49-F238E27FC236}">
                <a16:creationId xmlns:a16="http://schemas.microsoft.com/office/drawing/2014/main" id="{40E220D6-FD15-44C4-AA9B-F78ACC70C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2880" y="2087067"/>
            <a:ext cx="4915097" cy="35671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5399682" cy="4120588"/>
          </a:xfrm>
          <a:prstGeom prst="rect">
            <a:avLst/>
          </a:prstGeom>
        </p:spPr>
        <p:txBody>
          <a:bodyPr l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B00AF0-3BFA-4AC7-AB36-69D01C90D6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33210" y="2286000"/>
            <a:ext cx="4069080" cy="3093719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nl-NL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773812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3277318" y="1898249"/>
            <a:ext cx="5718742" cy="3755982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8E80370-8790-4863-AB9C-02FC64D074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17963" y="2287588"/>
            <a:ext cx="4191000" cy="2595562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ctr">
              <a:buNone/>
              <a:defRPr sz="1600"/>
            </a:lvl1pPr>
          </a:lstStyle>
          <a:p>
            <a:r>
              <a:rPr lang="nl-NL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8080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id="{0CD61E2B-657B-4C58-A29E-1D65300884D2}"/>
              </a:ext>
            </a:extLst>
          </p:cNvPr>
          <p:cNvGrpSpPr/>
          <p:nvPr userDrawn="1"/>
        </p:nvGrpSpPr>
        <p:grpSpPr>
          <a:xfrm>
            <a:off x="2174335" y="1452622"/>
            <a:ext cx="7843329" cy="5151378"/>
            <a:chOff x="2323609" y="1005294"/>
            <a:chExt cx="4515737" cy="2966252"/>
          </a:xfrm>
        </p:grpSpPr>
        <p:pic>
          <p:nvPicPr>
            <p:cNvPr id="7" name="Picture 35">
              <a:extLst>
                <a:ext uri="{FF2B5EF4-FFF2-40B4-BE49-F238E27FC236}">
                  <a16:creationId xmlns:a16="http://schemas.microsoft.com/office/drawing/2014/main" id="{CDDB184A-3902-4265-953D-528D00636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61" b="13107"/>
            <a:stretch/>
          </p:blipFill>
          <p:spPr>
            <a:xfrm>
              <a:off x="2323609" y="1005294"/>
              <a:ext cx="4515737" cy="2966252"/>
            </a:xfrm>
            <a:prstGeom prst="rect">
              <a:avLst/>
            </a:prstGeom>
          </p:spPr>
        </p:pic>
        <p:sp>
          <p:nvSpPr>
            <p:cNvPr id="8" name="Rectangle 36">
              <a:extLst>
                <a:ext uri="{FF2B5EF4-FFF2-40B4-BE49-F238E27FC236}">
                  <a16:creationId xmlns:a16="http://schemas.microsoft.com/office/drawing/2014/main" id="{85F9F213-C14F-4A8F-A72D-C71274AC8BFC}"/>
                </a:ext>
              </a:extLst>
            </p:cNvPr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8E80370-8790-4863-AB9C-02FC64D074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84586" y="1986646"/>
            <a:ext cx="5751070" cy="3569202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ctr">
              <a:buNone/>
              <a:defRPr sz="1600"/>
            </a:lvl1pPr>
          </a:lstStyle>
          <a:p>
            <a:r>
              <a:rPr lang="nl-NL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14474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D46337D-F323-43EF-9D83-A24E25DA92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2756" y="-11575"/>
            <a:ext cx="12204756" cy="6880687"/>
          </a:xfrm>
          <a:custGeom>
            <a:avLst/>
            <a:gdLst>
              <a:gd name="connsiteX0" fmla="*/ 0 w 12204756"/>
              <a:gd name="connsiteY0" fmla="*/ 0 h 6858001"/>
              <a:gd name="connsiteX1" fmla="*/ 12204756 w 12204756"/>
              <a:gd name="connsiteY1" fmla="*/ 0 h 6858001"/>
              <a:gd name="connsiteX2" fmla="*/ 12204756 w 12204756"/>
              <a:gd name="connsiteY2" fmla="*/ 6858001 h 6858001"/>
              <a:gd name="connsiteX3" fmla="*/ 0 w 12204756"/>
              <a:gd name="connsiteY3" fmla="*/ 6858001 h 6858001"/>
              <a:gd name="connsiteX4" fmla="*/ 0 w 12204756"/>
              <a:gd name="connsiteY4" fmla="*/ 0 h 6858001"/>
              <a:gd name="connsiteX0" fmla="*/ 0 w 12204756"/>
              <a:gd name="connsiteY0" fmla="*/ 462 h 6858463"/>
              <a:gd name="connsiteX1" fmla="*/ 1968878 w 12204756"/>
              <a:gd name="connsiteY1" fmla="*/ 0 h 6858463"/>
              <a:gd name="connsiteX2" fmla="*/ 12204756 w 12204756"/>
              <a:gd name="connsiteY2" fmla="*/ 462 h 6858463"/>
              <a:gd name="connsiteX3" fmla="*/ 12204756 w 12204756"/>
              <a:gd name="connsiteY3" fmla="*/ 6858463 h 6858463"/>
              <a:gd name="connsiteX4" fmla="*/ 0 w 12204756"/>
              <a:gd name="connsiteY4" fmla="*/ 6858463 h 6858463"/>
              <a:gd name="connsiteX5" fmla="*/ 0 w 12204756"/>
              <a:gd name="connsiteY5" fmla="*/ 462 h 6858463"/>
              <a:gd name="connsiteX0" fmla="*/ 0 w 12204756"/>
              <a:gd name="connsiteY0" fmla="*/ 6858463 h 6858463"/>
              <a:gd name="connsiteX1" fmla="*/ 1968878 w 12204756"/>
              <a:gd name="connsiteY1" fmla="*/ 0 h 6858463"/>
              <a:gd name="connsiteX2" fmla="*/ 12204756 w 12204756"/>
              <a:gd name="connsiteY2" fmla="*/ 462 h 6858463"/>
              <a:gd name="connsiteX3" fmla="*/ 12204756 w 12204756"/>
              <a:gd name="connsiteY3" fmla="*/ 6858463 h 6858463"/>
              <a:gd name="connsiteX4" fmla="*/ 0 w 12204756"/>
              <a:gd name="connsiteY4" fmla="*/ 6858463 h 6858463"/>
              <a:gd name="connsiteX0" fmla="*/ 0 w 12204756"/>
              <a:gd name="connsiteY0" fmla="*/ 6858463 h 6858463"/>
              <a:gd name="connsiteX1" fmla="*/ 1968878 w 12204756"/>
              <a:gd name="connsiteY1" fmla="*/ 0 h 6858463"/>
              <a:gd name="connsiteX2" fmla="*/ 12204756 w 12204756"/>
              <a:gd name="connsiteY2" fmla="*/ 462 h 6858463"/>
              <a:gd name="connsiteX3" fmla="*/ 12200898 w 12204756"/>
              <a:gd name="connsiteY3" fmla="*/ 5868365 h 6858463"/>
              <a:gd name="connsiteX4" fmla="*/ 12204756 w 12204756"/>
              <a:gd name="connsiteY4" fmla="*/ 6858463 h 6858463"/>
              <a:gd name="connsiteX5" fmla="*/ 0 w 12204756"/>
              <a:gd name="connsiteY5" fmla="*/ 6858463 h 6858463"/>
              <a:gd name="connsiteX0" fmla="*/ 0 w 12204756"/>
              <a:gd name="connsiteY0" fmla="*/ 6858463 h 6858463"/>
              <a:gd name="connsiteX1" fmla="*/ 1968878 w 12204756"/>
              <a:gd name="connsiteY1" fmla="*/ 0 h 6858463"/>
              <a:gd name="connsiteX2" fmla="*/ 12204756 w 12204756"/>
              <a:gd name="connsiteY2" fmla="*/ 462 h 6858463"/>
              <a:gd name="connsiteX3" fmla="*/ 12200898 w 12204756"/>
              <a:gd name="connsiteY3" fmla="*/ 2569580 h 6858463"/>
              <a:gd name="connsiteX4" fmla="*/ 12200898 w 12204756"/>
              <a:gd name="connsiteY4" fmla="*/ 5868365 h 6858463"/>
              <a:gd name="connsiteX5" fmla="*/ 12204756 w 12204756"/>
              <a:gd name="connsiteY5" fmla="*/ 6858463 h 6858463"/>
              <a:gd name="connsiteX6" fmla="*/ 0 w 12204756"/>
              <a:gd name="connsiteY6" fmla="*/ 6858463 h 6858463"/>
              <a:gd name="connsiteX0" fmla="*/ 0 w 12212472"/>
              <a:gd name="connsiteY0" fmla="*/ 6858463 h 6858463"/>
              <a:gd name="connsiteX1" fmla="*/ 1968878 w 12212472"/>
              <a:gd name="connsiteY1" fmla="*/ 0 h 6858463"/>
              <a:gd name="connsiteX2" fmla="*/ 12204756 w 12212472"/>
              <a:gd name="connsiteY2" fmla="*/ 462 h 6858463"/>
              <a:gd name="connsiteX3" fmla="*/ 12200898 w 12212472"/>
              <a:gd name="connsiteY3" fmla="*/ 2569580 h 6858463"/>
              <a:gd name="connsiteX4" fmla="*/ 12212472 w 12212472"/>
              <a:gd name="connsiteY4" fmla="*/ 4016416 h 6858463"/>
              <a:gd name="connsiteX5" fmla="*/ 12200898 w 12212472"/>
              <a:gd name="connsiteY5" fmla="*/ 5868365 h 6858463"/>
              <a:gd name="connsiteX6" fmla="*/ 12204756 w 12212472"/>
              <a:gd name="connsiteY6" fmla="*/ 6858463 h 6858463"/>
              <a:gd name="connsiteX7" fmla="*/ 0 w 12212472"/>
              <a:gd name="connsiteY7" fmla="*/ 6858463 h 6858463"/>
              <a:gd name="connsiteX0" fmla="*/ 0 w 12212472"/>
              <a:gd name="connsiteY0" fmla="*/ 6858463 h 6858463"/>
              <a:gd name="connsiteX1" fmla="*/ 1968878 w 12212472"/>
              <a:gd name="connsiteY1" fmla="*/ 0 h 6858463"/>
              <a:gd name="connsiteX2" fmla="*/ 12204756 w 12212472"/>
              <a:gd name="connsiteY2" fmla="*/ 462 h 6858463"/>
              <a:gd name="connsiteX3" fmla="*/ 12200898 w 12212472"/>
              <a:gd name="connsiteY3" fmla="*/ 2569580 h 6858463"/>
              <a:gd name="connsiteX4" fmla="*/ 12212472 w 12212472"/>
              <a:gd name="connsiteY4" fmla="*/ 4016416 h 6858463"/>
              <a:gd name="connsiteX5" fmla="*/ 12212472 w 12212472"/>
              <a:gd name="connsiteY5" fmla="*/ 5127585 h 6858463"/>
              <a:gd name="connsiteX6" fmla="*/ 12200898 w 12212472"/>
              <a:gd name="connsiteY6" fmla="*/ 5868365 h 6858463"/>
              <a:gd name="connsiteX7" fmla="*/ 12204756 w 12212472"/>
              <a:gd name="connsiteY7" fmla="*/ 6858463 h 6858463"/>
              <a:gd name="connsiteX8" fmla="*/ 0 w 12212472"/>
              <a:gd name="connsiteY8" fmla="*/ 6858463 h 6858463"/>
              <a:gd name="connsiteX0" fmla="*/ 0 w 12212472"/>
              <a:gd name="connsiteY0" fmla="*/ 6858463 h 6858463"/>
              <a:gd name="connsiteX1" fmla="*/ 1968878 w 12212472"/>
              <a:gd name="connsiteY1" fmla="*/ 0 h 6858463"/>
              <a:gd name="connsiteX2" fmla="*/ 12204756 w 12212472"/>
              <a:gd name="connsiteY2" fmla="*/ 462 h 6858463"/>
              <a:gd name="connsiteX3" fmla="*/ 12200898 w 12212472"/>
              <a:gd name="connsiteY3" fmla="*/ 2569580 h 6858463"/>
              <a:gd name="connsiteX4" fmla="*/ 12212472 w 12212472"/>
              <a:gd name="connsiteY4" fmla="*/ 4016416 h 6858463"/>
              <a:gd name="connsiteX5" fmla="*/ 5996867 w 12212472"/>
              <a:gd name="connsiteY5" fmla="*/ 5845215 h 6858463"/>
              <a:gd name="connsiteX6" fmla="*/ 12200898 w 12212472"/>
              <a:gd name="connsiteY6" fmla="*/ 5868365 h 6858463"/>
              <a:gd name="connsiteX7" fmla="*/ 12204756 w 12212472"/>
              <a:gd name="connsiteY7" fmla="*/ 6858463 h 6858463"/>
              <a:gd name="connsiteX8" fmla="*/ 0 w 12212472"/>
              <a:gd name="connsiteY8" fmla="*/ 6858463 h 6858463"/>
              <a:gd name="connsiteX0" fmla="*/ 0 w 12204756"/>
              <a:gd name="connsiteY0" fmla="*/ 6858463 h 6858463"/>
              <a:gd name="connsiteX1" fmla="*/ 1968878 w 12204756"/>
              <a:gd name="connsiteY1" fmla="*/ 0 h 6858463"/>
              <a:gd name="connsiteX2" fmla="*/ 12204756 w 12204756"/>
              <a:gd name="connsiteY2" fmla="*/ 462 h 6858463"/>
              <a:gd name="connsiteX3" fmla="*/ 12200898 w 12204756"/>
              <a:gd name="connsiteY3" fmla="*/ 2569580 h 6858463"/>
              <a:gd name="connsiteX4" fmla="*/ 7003864 w 12204756"/>
              <a:gd name="connsiteY4" fmla="*/ 2569581 h 6858463"/>
              <a:gd name="connsiteX5" fmla="*/ 5996867 w 12204756"/>
              <a:gd name="connsiteY5" fmla="*/ 5845215 h 6858463"/>
              <a:gd name="connsiteX6" fmla="*/ 12200898 w 12204756"/>
              <a:gd name="connsiteY6" fmla="*/ 5868365 h 6858463"/>
              <a:gd name="connsiteX7" fmla="*/ 12204756 w 12204756"/>
              <a:gd name="connsiteY7" fmla="*/ 6858463 h 6858463"/>
              <a:gd name="connsiteX8" fmla="*/ 0 w 12204756"/>
              <a:gd name="connsiteY8" fmla="*/ 6858463 h 6858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4756" h="6858463">
                <a:moveTo>
                  <a:pt x="0" y="6858463"/>
                </a:moveTo>
                <a:lnTo>
                  <a:pt x="1968878" y="0"/>
                </a:lnTo>
                <a:lnTo>
                  <a:pt x="12204756" y="462"/>
                </a:lnTo>
                <a:lnTo>
                  <a:pt x="12200898" y="2569580"/>
                </a:lnTo>
                <a:lnTo>
                  <a:pt x="7003864" y="2569581"/>
                </a:lnTo>
                <a:lnTo>
                  <a:pt x="5996867" y="5845215"/>
                </a:lnTo>
                <a:lnTo>
                  <a:pt x="12200898" y="5868365"/>
                </a:lnTo>
                <a:lnTo>
                  <a:pt x="12204756" y="6858463"/>
                </a:lnTo>
                <a:lnTo>
                  <a:pt x="0" y="6858463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 marL="0" indent="0" algn="ctr">
              <a:buNone/>
              <a:defRPr lang="nl-NL" sz="1600"/>
            </a:lvl1pPr>
          </a:lstStyle>
          <a:p>
            <a:pPr marL="228600" lvl="0" indent="-228600" algn="ctr"/>
            <a:r>
              <a:rPr lang="nl-NL"/>
              <a:t>Click on the icon to insert an imag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660F30-F599-4A0C-922C-C0030A7D2605}"/>
              </a:ext>
            </a:extLst>
          </p:cNvPr>
          <p:cNvSpPr/>
          <p:nvPr userDrawn="1"/>
        </p:nvSpPr>
        <p:spPr>
          <a:xfrm>
            <a:off x="5982350" y="2546429"/>
            <a:ext cx="6209649" cy="3333261"/>
          </a:xfrm>
          <a:custGeom>
            <a:avLst/>
            <a:gdLst>
              <a:gd name="connsiteX0" fmla="*/ 0 w 6196314"/>
              <a:gd name="connsiteY0" fmla="*/ 0 h 3299608"/>
              <a:gd name="connsiteX1" fmla="*/ 6196314 w 6196314"/>
              <a:gd name="connsiteY1" fmla="*/ 0 h 3299608"/>
              <a:gd name="connsiteX2" fmla="*/ 6196314 w 6196314"/>
              <a:gd name="connsiteY2" fmla="*/ 3299608 h 3299608"/>
              <a:gd name="connsiteX3" fmla="*/ 0 w 6196314"/>
              <a:gd name="connsiteY3" fmla="*/ 3299608 h 3299608"/>
              <a:gd name="connsiteX4" fmla="*/ 0 w 6196314"/>
              <a:gd name="connsiteY4" fmla="*/ 0 h 3299608"/>
              <a:gd name="connsiteX0" fmla="*/ 983848 w 6196314"/>
              <a:gd name="connsiteY0" fmla="*/ 0 h 3311183"/>
              <a:gd name="connsiteX1" fmla="*/ 6196314 w 6196314"/>
              <a:gd name="connsiteY1" fmla="*/ 11575 h 3311183"/>
              <a:gd name="connsiteX2" fmla="*/ 6196314 w 6196314"/>
              <a:gd name="connsiteY2" fmla="*/ 3311183 h 3311183"/>
              <a:gd name="connsiteX3" fmla="*/ 0 w 6196314"/>
              <a:gd name="connsiteY3" fmla="*/ 3311183 h 3311183"/>
              <a:gd name="connsiteX4" fmla="*/ 983848 w 6196314"/>
              <a:gd name="connsiteY4" fmla="*/ 0 h 3311183"/>
              <a:gd name="connsiteX0" fmla="*/ 997183 w 6209649"/>
              <a:gd name="connsiteY0" fmla="*/ 0 h 3311183"/>
              <a:gd name="connsiteX1" fmla="*/ 6209649 w 6209649"/>
              <a:gd name="connsiteY1" fmla="*/ 11575 h 3311183"/>
              <a:gd name="connsiteX2" fmla="*/ 6209649 w 6209649"/>
              <a:gd name="connsiteY2" fmla="*/ 3311183 h 3311183"/>
              <a:gd name="connsiteX3" fmla="*/ 0 w 6209649"/>
              <a:gd name="connsiteY3" fmla="*/ 3290228 h 3311183"/>
              <a:gd name="connsiteX4" fmla="*/ 997183 w 6209649"/>
              <a:gd name="connsiteY4" fmla="*/ 0 h 331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9649" h="3311183">
                <a:moveTo>
                  <a:pt x="997183" y="0"/>
                </a:moveTo>
                <a:lnTo>
                  <a:pt x="6209649" y="11575"/>
                </a:lnTo>
                <a:lnTo>
                  <a:pt x="6209649" y="3311183"/>
                </a:lnTo>
                <a:lnTo>
                  <a:pt x="0" y="3290228"/>
                </a:lnTo>
                <a:lnTo>
                  <a:pt x="997183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BA86B133-8EA2-4BCA-9047-7964C012F2D3}"/>
              </a:ext>
            </a:extLst>
          </p:cNvPr>
          <p:cNvSpPr/>
          <p:nvPr userDrawn="1"/>
        </p:nvSpPr>
        <p:spPr>
          <a:xfrm rot="10800000">
            <a:off x="-12755" y="-1"/>
            <a:ext cx="1980450" cy="6869113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9454" y="2995165"/>
            <a:ext cx="4862858" cy="2152893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52F4F2B-D6E4-49FD-A49C-C066BB1C819A}"/>
              </a:ext>
            </a:extLst>
          </p:cNvPr>
          <p:cNvGrpSpPr/>
          <p:nvPr userDrawn="1"/>
        </p:nvGrpSpPr>
        <p:grpSpPr>
          <a:xfrm>
            <a:off x="596687" y="509429"/>
            <a:ext cx="693334" cy="249834"/>
            <a:chOff x="3078163" y="2341563"/>
            <a:chExt cx="6035676" cy="217487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CC873411-21FD-495E-B469-63EE401DF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C37F28F2-3A6B-4A2D-BB07-336F952F95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F6C91EE9-45B1-4CA7-B9FF-2B382E9BA0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FB6BFED-CA50-4767-90E7-F7F31F6E87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51" name="Freeform 9">
              <a:extLst>
                <a:ext uri="{FF2B5EF4-FFF2-40B4-BE49-F238E27FC236}">
                  <a16:creationId xmlns:a16="http://schemas.microsoft.com/office/drawing/2014/main" id="{1CCB9127-4DB0-4E41-9BAE-0917376F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52" name="Freeform 10">
              <a:extLst>
                <a:ext uri="{FF2B5EF4-FFF2-40B4-BE49-F238E27FC236}">
                  <a16:creationId xmlns:a16="http://schemas.microsoft.com/office/drawing/2014/main" id="{54C9E3C8-5976-4789-B0A2-88D59AF831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53" name="Freeform 11">
              <a:extLst>
                <a:ext uri="{FF2B5EF4-FFF2-40B4-BE49-F238E27FC236}">
                  <a16:creationId xmlns:a16="http://schemas.microsoft.com/office/drawing/2014/main" id="{D20CC8FB-6D1D-428F-A33D-C001800D26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CAC65C5-D382-4D46-8330-6C7F60B3857A}"/>
              </a:ext>
            </a:extLst>
          </p:cNvPr>
          <p:cNvSpPr txBox="1"/>
          <p:nvPr userDrawn="1"/>
        </p:nvSpPr>
        <p:spPr>
          <a:xfrm>
            <a:off x="7001550" y="5340452"/>
            <a:ext cx="5181214" cy="36490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sz="1000" b="1" i="1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ing people live their best lives</a:t>
            </a:r>
          </a:p>
        </p:txBody>
      </p:sp>
    </p:spTree>
    <p:extLst>
      <p:ext uri="{BB962C8B-B14F-4D97-AF65-F5344CB8AC3E}">
        <p14:creationId xmlns:p14="http://schemas.microsoft.com/office/powerpoint/2010/main" val="229554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/>
      <p:bldP spid="2" grpId="0"/>
      <p:bldP spid="14" grpId="0"/>
    </p:bldLst>
  </p:timing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  <p15:guide id="5" pos="4404">
          <p15:clr>
            <a:srgbClr val="FBAE40"/>
          </p15:clr>
        </p15:guide>
        <p15:guide id="6" pos="123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1291015" y="1498201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4067557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1291015" y="2311939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cxnSp>
        <p:nvCxnSpPr>
          <p:cNvPr id="52" name="Straight Connector 59"/>
          <p:cNvCxnSpPr/>
          <p:nvPr userDrawn="1"/>
        </p:nvCxnSpPr>
        <p:spPr>
          <a:xfrm>
            <a:off x="7897494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558081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1291015" y="2888738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1291015" y="3702476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558081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1291015" y="4279275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1291015" y="509301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558081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5061465" y="1498201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5061465" y="2311939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4328531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5061465" y="2888738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5061465" y="3702476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4328531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5061465" y="4279275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5061465" y="509301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4328531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88" name="Tijdelijke aanduiding voor tekst 35"/>
          <p:cNvSpPr>
            <a:spLocks noGrp="1"/>
          </p:cNvSpPr>
          <p:nvPr>
            <p:ph type="body" sz="quarter" idx="53" hasCustomPrompt="1"/>
          </p:nvPr>
        </p:nvSpPr>
        <p:spPr>
          <a:xfrm>
            <a:off x="8891403" y="1498201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9" name="Tijdelijke aanduiding voor tekst 37"/>
          <p:cNvSpPr>
            <a:spLocks noGrp="1"/>
          </p:cNvSpPr>
          <p:nvPr>
            <p:ph type="body" sz="quarter" idx="54" hasCustomPrompt="1"/>
          </p:nvPr>
        </p:nvSpPr>
        <p:spPr>
          <a:xfrm>
            <a:off x="8891403" y="2311939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90" name="Tijdelijke aanduiding voor tekst 71"/>
          <p:cNvSpPr>
            <a:spLocks noGrp="1"/>
          </p:cNvSpPr>
          <p:nvPr>
            <p:ph type="body" sz="quarter" idx="55" hasCustomPrompt="1"/>
          </p:nvPr>
        </p:nvSpPr>
        <p:spPr>
          <a:xfrm>
            <a:off x="8158469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91" name="Tijdelijke aanduiding voor tekst 35"/>
          <p:cNvSpPr>
            <a:spLocks noGrp="1"/>
          </p:cNvSpPr>
          <p:nvPr>
            <p:ph type="body" sz="quarter" idx="56" hasCustomPrompt="1"/>
          </p:nvPr>
        </p:nvSpPr>
        <p:spPr>
          <a:xfrm>
            <a:off x="8891403" y="2888738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92" name="Tijdelijke aanduiding voor tekst 37"/>
          <p:cNvSpPr>
            <a:spLocks noGrp="1"/>
          </p:cNvSpPr>
          <p:nvPr>
            <p:ph type="body" sz="quarter" idx="57" hasCustomPrompt="1"/>
          </p:nvPr>
        </p:nvSpPr>
        <p:spPr>
          <a:xfrm>
            <a:off x="8891403" y="3702476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93" name="Tijdelijke aanduiding voor tekst 71"/>
          <p:cNvSpPr>
            <a:spLocks noGrp="1"/>
          </p:cNvSpPr>
          <p:nvPr>
            <p:ph type="body" sz="quarter" idx="58" hasCustomPrompt="1"/>
          </p:nvPr>
        </p:nvSpPr>
        <p:spPr>
          <a:xfrm>
            <a:off x="8158469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94" name="Tijdelijke aanduiding voor tekst 35"/>
          <p:cNvSpPr>
            <a:spLocks noGrp="1"/>
          </p:cNvSpPr>
          <p:nvPr>
            <p:ph type="body" sz="quarter" idx="59" hasCustomPrompt="1"/>
          </p:nvPr>
        </p:nvSpPr>
        <p:spPr>
          <a:xfrm>
            <a:off x="8891403" y="4279275"/>
            <a:ext cx="275920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95" name="Tijdelijke aanduiding voor tekst 37"/>
          <p:cNvSpPr>
            <a:spLocks noGrp="1"/>
          </p:cNvSpPr>
          <p:nvPr>
            <p:ph type="body" sz="quarter" idx="60" hasCustomPrompt="1"/>
          </p:nvPr>
        </p:nvSpPr>
        <p:spPr>
          <a:xfrm>
            <a:off x="8891403" y="5093013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96" name="Tijdelijke aanduiding voor tekst 71"/>
          <p:cNvSpPr>
            <a:spLocks noGrp="1"/>
          </p:cNvSpPr>
          <p:nvPr>
            <p:ph type="body" sz="quarter" idx="61" hasCustomPrompt="1"/>
          </p:nvPr>
        </p:nvSpPr>
        <p:spPr>
          <a:xfrm>
            <a:off x="8158469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A8FA3C3-982D-4FF0-AC3B-7CEC4B93EA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2589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498201"/>
            <a:ext cx="3494215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6079237" y="1457561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7" y="2311939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888738"/>
            <a:ext cx="3494215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7" y="3702476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279275"/>
            <a:ext cx="3494215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7" y="5093013"/>
            <a:ext cx="3494678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6994489" y="1498201"/>
            <a:ext cx="372431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6994489" y="2311939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6261555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6994489" y="2888738"/>
            <a:ext cx="372431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6994489" y="3702476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6261555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6994489" y="4279275"/>
            <a:ext cx="3724311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6994489" y="5093013"/>
            <a:ext cx="3724804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6261555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283E8B5-1FFF-4454-AAA0-2B6D46348C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8270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498201"/>
            <a:ext cx="6364794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6" y="2311939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477881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888738"/>
            <a:ext cx="6364794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6" y="3702476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868418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279275"/>
            <a:ext cx="6364794" cy="8137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6" y="5093013"/>
            <a:ext cx="6365637" cy="3806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Extra text</a:t>
            </a:r>
            <a:endParaRPr lang="en-US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258955"/>
            <a:ext cx="757238" cy="7572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err="1"/>
              <a:t>nr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4D8B13C-D7AD-40E5-AB16-80CE14088C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675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8202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/>
              <a:t>Edit header style</a:t>
            </a:r>
            <a:endParaRPr lang="en-US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/>
              <a:t>Edit text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footnote</a:t>
            </a:r>
            <a:endParaRPr lang="nl-NL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6225988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/>
              <a:t>Click icon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117130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</p:spTree>
    <p:extLst>
      <p:ext uri="{BB962C8B-B14F-4D97-AF65-F5344CB8AC3E}">
        <p14:creationId xmlns:p14="http://schemas.microsoft.com/office/powerpoint/2010/main" val="48016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</p:spTree>
    <p:extLst>
      <p:ext uri="{BB962C8B-B14F-4D97-AF65-F5344CB8AC3E}">
        <p14:creationId xmlns:p14="http://schemas.microsoft.com/office/powerpoint/2010/main" val="48016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orient="horz" pos="4065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72B591FD-0FC9-4B7C-BAEA-51AD04D0CA7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14448" y="-21971"/>
            <a:ext cx="6087079" cy="6885758"/>
          </a:xfrm>
          <a:custGeom>
            <a:avLst/>
            <a:gdLst>
              <a:gd name="connsiteX0" fmla="*/ 4561470 w 6087079"/>
              <a:gd name="connsiteY0" fmla="*/ 6511621 h 6885758"/>
              <a:gd name="connsiteX1" fmla="*/ 4566576 w 6087079"/>
              <a:gd name="connsiteY1" fmla="*/ 6524933 h 6885758"/>
              <a:gd name="connsiteX2" fmla="*/ 4921085 w 6087079"/>
              <a:gd name="connsiteY2" fmla="*/ 6524933 h 6885758"/>
              <a:gd name="connsiteX3" fmla="*/ 4921085 w 6087079"/>
              <a:gd name="connsiteY3" fmla="*/ 6511621 h 6885758"/>
              <a:gd name="connsiteX4" fmla="*/ 4493268 w 6087079"/>
              <a:gd name="connsiteY4" fmla="*/ 6378133 h 6885758"/>
              <a:gd name="connsiteX5" fmla="*/ 4474667 w 6087079"/>
              <a:gd name="connsiteY5" fmla="*/ 6436671 h 6885758"/>
              <a:gd name="connsiteX6" fmla="*/ 4512416 w 6087079"/>
              <a:gd name="connsiteY6" fmla="*/ 6437400 h 6885758"/>
              <a:gd name="connsiteX7" fmla="*/ 4818781 w 6087079"/>
              <a:gd name="connsiteY7" fmla="*/ 6365550 h 6885758"/>
              <a:gd name="connsiteX8" fmla="*/ 4827716 w 6087079"/>
              <a:gd name="connsiteY8" fmla="*/ 6367009 h 6885758"/>
              <a:gd name="connsiteX9" fmla="*/ 4835740 w 6087079"/>
              <a:gd name="connsiteY9" fmla="*/ 6369927 h 6885758"/>
              <a:gd name="connsiteX10" fmla="*/ 4841758 w 6087079"/>
              <a:gd name="connsiteY10" fmla="*/ 6374486 h 6885758"/>
              <a:gd name="connsiteX11" fmla="*/ 4847594 w 6087079"/>
              <a:gd name="connsiteY11" fmla="*/ 6380322 h 6885758"/>
              <a:gd name="connsiteX12" fmla="*/ 4852153 w 6087079"/>
              <a:gd name="connsiteY12" fmla="*/ 6387798 h 6885758"/>
              <a:gd name="connsiteX13" fmla="*/ 4855070 w 6087079"/>
              <a:gd name="connsiteY13" fmla="*/ 6395275 h 6885758"/>
              <a:gd name="connsiteX14" fmla="*/ 4856529 w 6087079"/>
              <a:gd name="connsiteY14" fmla="*/ 6404028 h 6885758"/>
              <a:gd name="connsiteX15" fmla="*/ 4857259 w 6087079"/>
              <a:gd name="connsiteY15" fmla="*/ 6412964 h 6885758"/>
              <a:gd name="connsiteX16" fmla="*/ 4856529 w 6087079"/>
              <a:gd name="connsiteY16" fmla="*/ 6421900 h 6885758"/>
              <a:gd name="connsiteX17" fmla="*/ 4855070 w 6087079"/>
              <a:gd name="connsiteY17" fmla="*/ 6430106 h 6885758"/>
              <a:gd name="connsiteX18" fmla="*/ 4852153 w 6087079"/>
              <a:gd name="connsiteY18" fmla="*/ 6437401 h 6885758"/>
              <a:gd name="connsiteX19" fmla="*/ 4847594 w 6087079"/>
              <a:gd name="connsiteY19" fmla="*/ 6444148 h 6885758"/>
              <a:gd name="connsiteX20" fmla="*/ 4842487 w 6087079"/>
              <a:gd name="connsiteY20" fmla="*/ 6450166 h 6885758"/>
              <a:gd name="connsiteX21" fmla="*/ 4835740 w 6087079"/>
              <a:gd name="connsiteY21" fmla="*/ 6454543 h 6885758"/>
              <a:gd name="connsiteX22" fmla="*/ 4827716 w 6087079"/>
              <a:gd name="connsiteY22" fmla="*/ 6457460 h 6885758"/>
              <a:gd name="connsiteX23" fmla="*/ 4818781 w 6087079"/>
              <a:gd name="connsiteY23" fmla="*/ 6458190 h 6885758"/>
              <a:gd name="connsiteX24" fmla="*/ 4814951 w 6087079"/>
              <a:gd name="connsiteY24" fmla="*/ 6458190 h 6885758"/>
              <a:gd name="connsiteX25" fmla="*/ 4812033 w 6087079"/>
              <a:gd name="connsiteY25" fmla="*/ 6457460 h 6885758"/>
              <a:gd name="connsiteX26" fmla="*/ 4809115 w 6087079"/>
              <a:gd name="connsiteY26" fmla="*/ 6456731 h 6885758"/>
              <a:gd name="connsiteX27" fmla="*/ 4806198 w 6087079"/>
              <a:gd name="connsiteY27" fmla="*/ 6456001 h 6885758"/>
              <a:gd name="connsiteX28" fmla="*/ 4803097 w 6087079"/>
              <a:gd name="connsiteY28" fmla="*/ 6454543 h 6885758"/>
              <a:gd name="connsiteX29" fmla="*/ 4800180 w 6087079"/>
              <a:gd name="connsiteY29" fmla="*/ 6452354 h 6885758"/>
              <a:gd name="connsiteX30" fmla="*/ 4797991 w 6087079"/>
              <a:gd name="connsiteY30" fmla="*/ 6450895 h 6885758"/>
              <a:gd name="connsiteX31" fmla="*/ 4795074 w 6087079"/>
              <a:gd name="connsiteY31" fmla="*/ 6448525 h 6885758"/>
              <a:gd name="connsiteX32" fmla="*/ 4791973 w 6087079"/>
              <a:gd name="connsiteY32" fmla="*/ 6445607 h 6885758"/>
              <a:gd name="connsiteX33" fmla="*/ 4789785 w 6087079"/>
              <a:gd name="connsiteY33" fmla="*/ 6441230 h 6885758"/>
              <a:gd name="connsiteX34" fmla="*/ 4787597 w 6087079"/>
              <a:gd name="connsiteY34" fmla="*/ 6437401 h 6885758"/>
              <a:gd name="connsiteX35" fmla="*/ 4786138 w 6087079"/>
              <a:gd name="connsiteY35" fmla="*/ 6433024 h 6885758"/>
              <a:gd name="connsiteX36" fmla="*/ 4784679 w 6087079"/>
              <a:gd name="connsiteY36" fmla="*/ 6428647 h 6885758"/>
              <a:gd name="connsiteX37" fmla="*/ 4783220 w 6087079"/>
              <a:gd name="connsiteY37" fmla="*/ 6424088 h 6885758"/>
              <a:gd name="connsiteX38" fmla="*/ 4783220 w 6087079"/>
              <a:gd name="connsiteY38" fmla="*/ 6418982 h 6885758"/>
              <a:gd name="connsiteX39" fmla="*/ 4782308 w 6087079"/>
              <a:gd name="connsiteY39" fmla="*/ 6413694 h 6885758"/>
              <a:gd name="connsiteX40" fmla="*/ 4783220 w 6087079"/>
              <a:gd name="connsiteY40" fmla="*/ 6404940 h 6885758"/>
              <a:gd name="connsiteX41" fmla="*/ 4784679 w 6087079"/>
              <a:gd name="connsiteY41" fmla="*/ 6396734 h 6885758"/>
              <a:gd name="connsiteX42" fmla="*/ 4786867 w 6087079"/>
              <a:gd name="connsiteY42" fmla="*/ 6388528 h 6885758"/>
              <a:gd name="connsiteX43" fmla="*/ 4790515 w 6087079"/>
              <a:gd name="connsiteY43" fmla="*/ 6381051 h 6885758"/>
              <a:gd name="connsiteX44" fmla="*/ 4795803 w 6087079"/>
              <a:gd name="connsiteY44" fmla="*/ 6374486 h 6885758"/>
              <a:gd name="connsiteX45" fmla="*/ 4802368 w 6087079"/>
              <a:gd name="connsiteY45" fmla="*/ 6369927 h 6885758"/>
              <a:gd name="connsiteX46" fmla="*/ 4809845 w 6087079"/>
              <a:gd name="connsiteY46" fmla="*/ 6367009 h 6885758"/>
              <a:gd name="connsiteX47" fmla="*/ 4898107 w 6087079"/>
              <a:gd name="connsiteY47" fmla="*/ 6347861 h 6885758"/>
              <a:gd name="connsiteX48" fmla="*/ 4898107 w 6087079"/>
              <a:gd name="connsiteY48" fmla="*/ 6478249 h 6885758"/>
              <a:gd name="connsiteX49" fmla="*/ 4921814 w 6087079"/>
              <a:gd name="connsiteY49" fmla="*/ 6478249 h 6885758"/>
              <a:gd name="connsiteX50" fmla="*/ 4921814 w 6087079"/>
              <a:gd name="connsiteY50" fmla="*/ 6389987 h 6885758"/>
              <a:gd name="connsiteX51" fmla="*/ 4977434 w 6087079"/>
              <a:gd name="connsiteY51" fmla="*/ 6478249 h 6885758"/>
              <a:gd name="connsiteX52" fmla="*/ 5001141 w 6087079"/>
              <a:gd name="connsiteY52" fmla="*/ 6478249 h 6885758"/>
              <a:gd name="connsiteX53" fmla="*/ 5001141 w 6087079"/>
              <a:gd name="connsiteY53" fmla="*/ 6347861 h 6885758"/>
              <a:gd name="connsiteX54" fmla="*/ 4977434 w 6087079"/>
              <a:gd name="connsiteY54" fmla="*/ 6347861 h 6885758"/>
              <a:gd name="connsiteX55" fmla="*/ 4977434 w 6087079"/>
              <a:gd name="connsiteY55" fmla="*/ 6434483 h 6885758"/>
              <a:gd name="connsiteX56" fmla="*/ 4921814 w 6087079"/>
              <a:gd name="connsiteY56" fmla="*/ 6347861 h 6885758"/>
              <a:gd name="connsiteX57" fmla="*/ 4528828 w 6087079"/>
              <a:gd name="connsiteY57" fmla="*/ 6347861 h 6885758"/>
              <a:gd name="connsiteX58" fmla="*/ 4528828 w 6087079"/>
              <a:gd name="connsiteY58" fmla="*/ 6408587 h 6885758"/>
              <a:gd name="connsiteX59" fmla="*/ 4551805 w 6087079"/>
              <a:gd name="connsiteY59" fmla="*/ 6478978 h 6885758"/>
              <a:gd name="connsiteX60" fmla="*/ 4625114 w 6087079"/>
              <a:gd name="connsiteY60" fmla="*/ 6478978 h 6885758"/>
              <a:gd name="connsiteX61" fmla="*/ 4625114 w 6087079"/>
              <a:gd name="connsiteY61" fmla="*/ 6456001 h 6885758"/>
              <a:gd name="connsiteX62" fmla="*/ 4551805 w 6087079"/>
              <a:gd name="connsiteY62" fmla="*/ 6456001 h 6885758"/>
              <a:gd name="connsiteX63" fmla="*/ 4551805 w 6087079"/>
              <a:gd name="connsiteY63" fmla="*/ 6419711 h 6885758"/>
              <a:gd name="connsiteX64" fmla="*/ 4603596 w 6087079"/>
              <a:gd name="connsiteY64" fmla="*/ 6419711 h 6885758"/>
              <a:gd name="connsiteX65" fmla="*/ 4603596 w 6087079"/>
              <a:gd name="connsiteY65" fmla="*/ 6397463 h 6885758"/>
              <a:gd name="connsiteX66" fmla="*/ 4551805 w 6087079"/>
              <a:gd name="connsiteY66" fmla="*/ 6397463 h 6885758"/>
              <a:gd name="connsiteX67" fmla="*/ 4551805 w 6087079"/>
              <a:gd name="connsiteY67" fmla="*/ 6369197 h 6885758"/>
              <a:gd name="connsiteX68" fmla="*/ 4620737 w 6087079"/>
              <a:gd name="connsiteY68" fmla="*/ 6369197 h 6885758"/>
              <a:gd name="connsiteX69" fmla="*/ 4620737 w 6087079"/>
              <a:gd name="connsiteY69" fmla="*/ 6347861 h 6885758"/>
              <a:gd name="connsiteX70" fmla="*/ 4688210 w 6087079"/>
              <a:gd name="connsiteY70" fmla="*/ 6344031 h 6885758"/>
              <a:gd name="connsiteX71" fmla="*/ 4677086 w 6087079"/>
              <a:gd name="connsiteY71" fmla="*/ 6345490 h 6885758"/>
              <a:gd name="connsiteX72" fmla="*/ 4666692 w 6087079"/>
              <a:gd name="connsiteY72" fmla="*/ 6348590 h 6885758"/>
              <a:gd name="connsiteX73" fmla="*/ 4656297 w 6087079"/>
              <a:gd name="connsiteY73" fmla="*/ 6353696 h 6885758"/>
              <a:gd name="connsiteX74" fmla="*/ 4646632 w 6087079"/>
              <a:gd name="connsiteY74" fmla="*/ 6360444 h 6885758"/>
              <a:gd name="connsiteX75" fmla="*/ 4638608 w 6087079"/>
              <a:gd name="connsiteY75" fmla="*/ 6370838 h 6885758"/>
              <a:gd name="connsiteX76" fmla="*/ 4631861 w 6087079"/>
              <a:gd name="connsiteY76" fmla="*/ 6382692 h 6885758"/>
              <a:gd name="connsiteX77" fmla="*/ 4628214 w 6087079"/>
              <a:gd name="connsiteY77" fmla="*/ 6397463 h 6885758"/>
              <a:gd name="connsiteX78" fmla="*/ 4626755 w 6087079"/>
              <a:gd name="connsiteY78" fmla="*/ 6414423 h 6885758"/>
              <a:gd name="connsiteX79" fmla="*/ 4628214 w 6087079"/>
              <a:gd name="connsiteY79" fmla="*/ 6431565 h 6885758"/>
              <a:gd name="connsiteX80" fmla="*/ 4632591 w 6087079"/>
              <a:gd name="connsiteY80" fmla="*/ 6446336 h 6885758"/>
              <a:gd name="connsiteX81" fmla="*/ 4639338 w 6087079"/>
              <a:gd name="connsiteY81" fmla="*/ 6457460 h 6885758"/>
              <a:gd name="connsiteX82" fmla="*/ 4647362 w 6087079"/>
              <a:gd name="connsiteY82" fmla="*/ 6467125 h 6885758"/>
              <a:gd name="connsiteX83" fmla="*/ 4657027 w 6087079"/>
              <a:gd name="connsiteY83" fmla="*/ 6473872 h 6885758"/>
              <a:gd name="connsiteX84" fmla="*/ 4666692 w 6087079"/>
              <a:gd name="connsiteY84" fmla="*/ 6478249 h 6885758"/>
              <a:gd name="connsiteX85" fmla="*/ 4677816 w 6087079"/>
              <a:gd name="connsiteY85" fmla="*/ 6481167 h 6885758"/>
              <a:gd name="connsiteX86" fmla="*/ 4688210 w 6087079"/>
              <a:gd name="connsiteY86" fmla="*/ 6481896 h 6885758"/>
              <a:gd name="connsiteX87" fmla="*/ 4697146 w 6087079"/>
              <a:gd name="connsiteY87" fmla="*/ 6481167 h 6885758"/>
              <a:gd name="connsiteX88" fmla="*/ 4704623 w 6087079"/>
              <a:gd name="connsiteY88" fmla="*/ 6479708 h 6885758"/>
              <a:gd name="connsiteX89" fmla="*/ 4710458 w 6087079"/>
              <a:gd name="connsiteY89" fmla="*/ 6477520 h 6885758"/>
              <a:gd name="connsiteX90" fmla="*/ 4714835 w 6087079"/>
              <a:gd name="connsiteY90" fmla="*/ 6474602 h 6885758"/>
              <a:gd name="connsiteX91" fmla="*/ 4717935 w 6087079"/>
              <a:gd name="connsiteY91" fmla="*/ 6471502 h 6885758"/>
              <a:gd name="connsiteX92" fmla="*/ 4720853 w 6087079"/>
              <a:gd name="connsiteY92" fmla="*/ 6469313 h 6885758"/>
              <a:gd name="connsiteX93" fmla="*/ 4721582 w 6087079"/>
              <a:gd name="connsiteY93" fmla="*/ 6467854 h 6885758"/>
              <a:gd name="connsiteX94" fmla="*/ 4721582 w 6087079"/>
              <a:gd name="connsiteY94" fmla="*/ 6478978 h 6885758"/>
              <a:gd name="connsiteX95" fmla="*/ 4742371 w 6087079"/>
              <a:gd name="connsiteY95" fmla="*/ 6478978 h 6885758"/>
              <a:gd name="connsiteX96" fmla="*/ 4742371 w 6087079"/>
              <a:gd name="connsiteY96" fmla="*/ 6407128 h 6885758"/>
              <a:gd name="connsiteX97" fmla="*/ 4688940 w 6087079"/>
              <a:gd name="connsiteY97" fmla="*/ 6407128 h 6885758"/>
              <a:gd name="connsiteX98" fmla="*/ 4688940 w 6087079"/>
              <a:gd name="connsiteY98" fmla="*/ 6429376 h 6885758"/>
              <a:gd name="connsiteX99" fmla="*/ 4720853 w 6087079"/>
              <a:gd name="connsiteY99" fmla="*/ 6429376 h 6885758"/>
              <a:gd name="connsiteX100" fmla="*/ 4720123 w 6087079"/>
              <a:gd name="connsiteY100" fmla="*/ 6435212 h 6885758"/>
              <a:gd name="connsiteX101" fmla="*/ 4718664 w 6087079"/>
              <a:gd name="connsiteY101" fmla="*/ 6440500 h 6885758"/>
              <a:gd name="connsiteX102" fmla="*/ 4715746 w 6087079"/>
              <a:gd name="connsiteY102" fmla="*/ 6445606 h 6885758"/>
              <a:gd name="connsiteX103" fmla="*/ 4711917 w 6087079"/>
              <a:gd name="connsiteY103" fmla="*/ 6450165 h 6885758"/>
              <a:gd name="connsiteX104" fmla="*/ 4707540 w 6087079"/>
              <a:gd name="connsiteY104" fmla="*/ 6453813 h 6885758"/>
              <a:gd name="connsiteX105" fmla="*/ 4702252 w 6087079"/>
              <a:gd name="connsiteY105" fmla="*/ 6456001 h 6885758"/>
              <a:gd name="connsiteX106" fmla="*/ 4695687 w 6087079"/>
              <a:gd name="connsiteY106" fmla="*/ 6458189 h 6885758"/>
              <a:gd name="connsiteX107" fmla="*/ 4688940 w 6087079"/>
              <a:gd name="connsiteY107" fmla="*/ 6458919 h 6885758"/>
              <a:gd name="connsiteX108" fmla="*/ 4681463 w 6087079"/>
              <a:gd name="connsiteY108" fmla="*/ 6458189 h 6885758"/>
              <a:gd name="connsiteX109" fmla="*/ 4674898 w 6087079"/>
              <a:gd name="connsiteY109" fmla="*/ 6456001 h 6885758"/>
              <a:gd name="connsiteX110" fmla="*/ 4668880 w 6087079"/>
              <a:gd name="connsiteY110" fmla="*/ 6453083 h 6885758"/>
              <a:gd name="connsiteX111" fmla="*/ 4663045 w 6087079"/>
              <a:gd name="connsiteY111" fmla="*/ 6447795 h 6885758"/>
              <a:gd name="connsiteX112" fmla="*/ 4658486 w 6087079"/>
              <a:gd name="connsiteY112" fmla="*/ 6441959 h 6885758"/>
              <a:gd name="connsiteX113" fmla="*/ 4654838 w 6087079"/>
              <a:gd name="connsiteY113" fmla="*/ 6434482 h 6885758"/>
              <a:gd name="connsiteX114" fmla="*/ 4652650 w 6087079"/>
              <a:gd name="connsiteY114" fmla="*/ 6424817 h 6885758"/>
              <a:gd name="connsiteX115" fmla="*/ 4651921 w 6087079"/>
              <a:gd name="connsiteY115" fmla="*/ 6414423 h 6885758"/>
              <a:gd name="connsiteX116" fmla="*/ 4652650 w 6087079"/>
              <a:gd name="connsiteY116" fmla="*/ 6404028 h 6885758"/>
              <a:gd name="connsiteX117" fmla="*/ 4654109 w 6087079"/>
              <a:gd name="connsiteY117" fmla="*/ 6394545 h 6885758"/>
              <a:gd name="connsiteX118" fmla="*/ 4657027 w 6087079"/>
              <a:gd name="connsiteY118" fmla="*/ 6386339 h 6885758"/>
              <a:gd name="connsiteX119" fmla="*/ 4661586 w 6087079"/>
              <a:gd name="connsiteY119" fmla="*/ 6379592 h 6885758"/>
              <a:gd name="connsiteX120" fmla="*/ 4666692 w 6087079"/>
              <a:gd name="connsiteY120" fmla="*/ 6374486 h 6885758"/>
              <a:gd name="connsiteX121" fmla="*/ 4673439 w 6087079"/>
              <a:gd name="connsiteY121" fmla="*/ 6369927 h 6885758"/>
              <a:gd name="connsiteX122" fmla="*/ 4680733 w 6087079"/>
              <a:gd name="connsiteY122" fmla="*/ 6367009 h 6885758"/>
              <a:gd name="connsiteX123" fmla="*/ 4688940 w 6087079"/>
              <a:gd name="connsiteY123" fmla="*/ 6367009 h 6885758"/>
              <a:gd name="connsiteX124" fmla="*/ 4697146 w 6087079"/>
              <a:gd name="connsiteY124" fmla="*/ 6367738 h 6885758"/>
              <a:gd name="connsiteX125" fmla="*/ 4703711 w 6087079"/>
              <a:gd name="connsiteY125" fmla="*/ 6370838 h 6885758"/>
              <a:gd name="connsiteX126" fmla="*/ 4708999 w 6087079"/>
              <a:gd name="connsiteY126" fmla="*/ 6374486 h 6885758"/>
              <a:gd name="connsiteX127" fmla="*/ 4713376 w 6087079"/>
              <a:gd name="connsiteY127" fmla="*/ 6378862 h 6885758"/>
              <a:gd name="connsiteX128" fmla="*/ 4717205 w 6087079"/>
              <a:gd name="connsiteY128" fmla="*/ 6383421 h 6885758"/>
              <a:gd name="connsiteX129" fmla="*/ 4718664 w 6087079"/>
              <a:gd name="connsiteY129" fmla="*/ 6387068 h 6885758"/>
              <a:gd name="connsiteX130" fmla="*/ 4720123 w 6087079"/>
              <a:gd name="connsiteY130" fmla="*/ 6389986 h 6885758"/>
              <a:gd name="connsiteX131" fmla="*/ 4720853 w 6087079"/>
              <a:gd name="connsiteY131" fmla="*/ 6391445 h 6885758"/>
              <a:gd name="connsiteX132" fmla="*/ 4741642 w 6087079"/>
              <a:gd name="connsiteY132" fmla="*/ 6380321 h 6885758"/>
              <a:gd name="connsiteX133" fmla="*/ 4738724 w 6087079"/>
              <a:gd name="connsiteY133" fmla="*/ 6373027 h 6885758"/>
              <a:gd name="connsiteX134" fmla="*/ 4734165 w 6087079"/>
              <a:gd name="connsiteY134" fmla="*/ 6366279 h 6885758"/>
              <a:gd name="connsiteX135" fmla="*/ 4728329 w 6087079"/>
              <a:gd name="connsiteY135" fmla="*/ 6360444 h 6885758"/>
              <a:gd name="connsiteX136" fmla="*/ 4721582 w 6087079"/>
              <a:gd name="connsiteY136" fmla="*/ 6354426 h 6885758"/>
              <a:gd name="connsiteX137" fmla="*/ 4714105 w 6087079"/>
              <a:gd name="connsiteY137" fmla="*/ 6350779 h 6885758"/>
              <a:gd name="connsiteX138" fmla="*/ 4706081 w 6087079"/>
              <a:gd name="connsiteY138" fmla="*/ 6346949 h 6885758"/>
              <a:gd name="connsiteX139" fmla="*/ 4697146 w 6087079"/>
              <a:gd name="connsiteY139" fmla="*/ 6344761 h 6885758"/>
              <a:gd name="connsiteX140" fmla="*/ 4819510 w 6087079"/>
              <a:gd name="connsiteY140" fmla="*/ 6343302 h 6885758"/>
              <a:gd name="connsiteX141" fmla="*/ 4807657 w 6087079"/>
              <a:gd name="connsiteY141" fmla="*/ 6344032 h 6885758"/>
              <a:gd name="connsiteX142" fmla="*/ 4795803 w 6087079"/>
              <a:gd name="connsiteY142" fmla="*/ 6347861 h 6885758"/>
              <a:gd name="connsiteX143" fmla="*/ 4785408 w 6087079"/>
              <a:gd name="connsiteY143" fmla="*/ 6352967 h 6885758"/>
              <a:gd name="connsiteX144" fmla="*/ 4775743 w 6087079"/>
              <a:gd name="connsiteY144" fmla="*/ 6360444 h 6885758"/>
              <a:gd name="connsiteX145" fmla="*/ 4768267 w 6087079"/>
              <a:gd name="connsiteY145" fmla="*/ 6370839 h 6885758"/>
              <a:gd name="connsiteX146" fmla="*/ 4762431 w 6087079"/>
              <a:gd name="connsiteY146" fmla="*/ 6382692 h 6885758"/>
              <a:gd name="connsiteX147" fmla="*/ 4758601 w 6087079"/>
              <a:gd name="connsiteY147" fmla="*/ 6396734 h 6885758"/>
              <a:gd name="connsiteX148" fmla="*/ 4757872 w 6087079"/>
              <a:gd name="connsiteY148" fmla="*/ 6412964 h 6885758"/>
              <a:gd name="connsiteX149" fmla="*/ 4757872 w 6087079"/>
              <a:gd name="connsiteY149" fmla="*/ 6423359 h 6885758"/>
              <a:gd name="connsiteX150" fmla="*/ 4759331 w 6087079"/>
              <a:gd name="connsiteY150" fmla="*/ 6432294 h 6885758"/>
              <a:gd name="connsiteX151" fmla="*/ 4761702 w 6087079"/>
              <a:gd name="connsiteY151" fmla="*/ 6441230 h 6885758"/>
              <a:gd name="connsiteX152" fmla="*/ 4765349 w 6087079"/>
              <a:gd name="connsiteY152" fmla="*/ 6448525 h 6885758"/>
              <a:gd name="connsiteX153" fmla="*/ 4768996 w 6087079"/>
              <a:gd name="connsiteY153" fmla="*/ 6455272 h 6885758"/>
              <a:gd name="connsiteX154" fmla="*/ 4774284 w 6087079"/>
              <a:gd name="connsiteY154" fmla="*/ 6462019 h 6885758"/>
              <a:gd name="connsiteX155" fmla="*/ 4779391 w 6087079"/>
              <a:gd name="connsiteY155" fmla="*/ 6467125 h 6885758"/>
              <a:gd name="connsiteX156" fmla="*/ 4785408 w 6087079"/>
              <a:gd name="connsiteY156" fmla="*/ 6471502 h 6885758"/>
              <a:gd name="connsiteX157" fmla="*/ 4789056 w 6087079"/>
              <a:gd name="connsiteY157" fmla="*/ 6473873 h 6885758"/>
              <a:gd name="connsiteX158" fmla="*/ 4792703 w 6087079"/>
              <a:gd name="connsiteY158" fmla="*/ 6475332 h 6885758"/>
              <a:gd name="connsiteX159" fmla="*/ 4797262 w 6087079"/>
              <a:gd name="connsiteY159" fmla="*/ 6477520 h 6885758"/>
              <a:gd name="connsiteX160" fmla="*/ 4801639 w 6087079"/>
              <a:gd name="connsiteY160" fmla="*/ 6478979 h 6885758"/>
              <a:gd name="connsiteX161" fmla="*/ 4806198 w 6087079"/>
              <a:gd name="connsiteY161" fmla="*/ 6479708 h 6885758"/>
              <a:gd name="connsiteX162" fmla="*/ 4810574 w 6087079"/>
              <a:gd name="connsiteY162" fmla="*/ 6480438 h 6885758"/>
              <a:gd name="connsiteX163" fmla="*/ 4814951 w 6087079"/>
              <a:gd name="connsiteY163" fmla="*/ 6481167 h 6885758"/>
              <a:gd name="connsiteX164" fmla="*/ 4819510 w 6087079"/>
              <a:gd name="connsiteY164" fmla="*/ 6481167 h 6885758"/>
              <a:gd name="connsiteX165" fmla="*/ 4832822 w 6087079"/>
              <a:gd name="connsiteY165" fmla="*/ 6479708 h 6885758"/>
              <a:gd name="connsiteX166" fmla="*/ 4845405 w 6087079"/>
              <a:gd name="connsiteY166" fmla="*/ 6476061 h 6885758"/>
              <a:gd name="connsiteX167" fmla="*/ 4855800 w 6087079"/>
              <a:gd name="connsiteY167" fmla="*/ 6470043 h 6885758"/>
              <a:gd name="connsiteX168" fmla="*/ 4864735 w 6087079"/>
              <a:gd name="connsiteY168" fmla="*/ 6462019 h 6885758"/>
              <a:gd name="connsiteX169" fmla="*/ 4872030 w 6087079"/>
              <a:gd name="connsiteY169" fmla="*/ 6452354 h 6885758"/>
              <a:gd name="connsiteX170" fmla="*/ 4878048 w 6087079"/>
              <a:gd name="connsiteY170" fmla="*/ 6441230 h 6885758"/>
              <a:gd name="connsiteX171" fmla="*/ 4880966 w 6087079"/>
              <a:gd name="connsiteY171" fmla="*/ 6427918 h 6885758"/>
              <a:gd name="connsiteX172" fmla="*/ 4881695 w 6087079"/>
              <a:gd name="connsiteY172" fmla="*/ 6412964 h 6885758"/>
              <a:gd name="connsiteX173" fmla="*/ 4880236 w 6087079"/>
              <a:gd name="connsiteY173" fmla="*/ 6396005 h 6885758"/>
              <a:gd name="connsiteX174" fmla="*/ 4875859 w 6087079"/>
              <a:gd name="connsiteY174" fmla="*/ 6381051 h 6885758"/>
              <a:gd name="connsiteX175" fmla="*/ 4869842 w 6087079"/>
              <a:gd name="connsiteY175" fmla="*/ 6369198 h 6885758"/>
              <a:gd name="connsiteX176" fmla="*/ 4860906 w 6087079"/>
              <a:gd name="connsiteY176" fmla="*/ 6359715 h 6885758"/>
              <a:gd name="connsiteX177" fmla="*/ 4852153 w 6087079"/>
              <a:gd name="connsiteY177" fmla="*/ 6352238 h 6885758"/>
              <a:gd name="connsiteX178" fmla="*/ 4841029 w 6087079"/>
              <a:gd name="connsiteY178" fmla="*/ 6346949 h 6885758"/>
              <a:gd name="connsiteX179" fmla="*/ 4829905 w 6087079"/>
              <a:gd name="connsiteY179" fmla="*/ 6344032 h 6885758"/>
              <a:gd name="connsiteX180" fmla="*/ 4494726 w 6087079"/>
              <a:gd name="connsiteY180" fmla="*/ 6308471 h 6885758"/>
              <a:gd name="connsiteX181" fmla="*/ 4307807 w 6087079"/>
              <a:gd name="connsiteY181" fmla="*/ 6369927 h 6885758"/>
              <a:gd name="connsiteX182" fmla="*/ 4369445 w 6087079"/>
              <a:gd name="connsiteY182" fmla="*/ 6558305 h 6885758"/>
              <a:gd name="connsiteX183" fmla="*/ 4533934 w 6087079"/>
              <a:gd name="connsiteY183" fmla="*/ 6504144 h 6885758"/>
              <a:gd name="connsiteX184" fmla="*/ 4519892 w 6087079"/>
              <a:gd name="connsiteY184" fmla="*/ 6458919 h 6885758"/>
              <a:gd name="connsiteX185" fmla="*/ 4467920 w 6087079"/>
              <a:gd name="connsiteY185" fmla="*/ 6458919 h 6885758"/>
              <a:gd name="connsiteX186" fmla="*/ 4462084 w 6087079"/>
              <a:gd name="connsiteY186" fmla="*/ 6479708 h 6885758"/>
              <a:gd name="connsiteX187" fmla="*/ 4435277 w 6087079"/>
              <a:gd name="connsiteY187" fmla="*/ 6479708 h 6885758"/>
              <a:gd name="connsiteX188" fmla="*/ 4479773 w 6087079"/>
              <a:gd name="connsiteY188" fmla="*/ 6346220 h 6885758"/>
              <a:gd name="connsiteX189" fmla="*/ 4507309 w 6087079"/>
              <a:gd name="connsiteY189" fmla="*/ 6346220 h 6885758"/>
              <a:gd name="connsiteX190" fmla="*/ 2353342 w 6087079"/>
              <a:gd name="connsiteY190" fmla="*/ 0 h 6885758"/>
              <a:gd name="connsiteX191" fmla="*/ 6077554 w 6087079"/>
              <a:gd name="connsiteY191" fmla="*/ 10395 h 6885758"/>
              <a:gd name="connsiteX192" fmla="*/ 6087079 w 6087079"/>
              <a:gd name="connsiteY192" fmla="*/ 4007761 h 6885758"/>
              <a:gd name="connsiteX193" fmla="*/ 5101422 w 6087079"/>
              <a:gd name="connsiteY193" fmla="*/ 6885758 h 6885758"/>
              <a:gd name="connsiteX194" fmla="*/ 0 w 6087079"/>
              <a:gd name="connsiteY194" fmla="*/ 6879986 h 6885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6087079" h="6885758">
                <a:moveTo>
                  <a:pt x="4561470" y="6511621"/>
                </a:moveTo>
                <a:lnTo>
                  <a:pt x="4566576" y="6524933"/>
                </a:lnTo>
                <a:lnTo>
                  <a:pt x="4921085" y="6524933"/>
                </a:lnTo>
                <a:lnTo>
                  <a:pt x="4921085" y="6511621"/>
                </a:lnTo>
                <a:close/>
                <a:moveTo>
                  <a:pt x="4493268" y="6378133"/>
                </a:moveTo>
                <a:lnTo>
                  <a:pt x="4474667" y="6436671"/>
                </a:lnTo>
                <a:lnTo>
                  <a:pt x="4512416" y="6437400"/>
                </a:lnTo>
                <a:close/>
                <a:moveTo>
                  <a:pt x="4818781" y="6365550"/>
                </a:moveTo>
                <a:lnTo>
                  <a:pt x="4827716" y="6367009"/>
                </a:lnTo>
                <a:lnTo>
                  <a:pt x="4835740" y="6369927"/>
                </a:lnTo>
                <a:lnTo>
                  <a:pt x="4841758" y="6374486"/>
                </a:lnTo>
                <a:lnTo>
                  <a:pt x="4847594" y="6380322"/>
                </a:lnTo>
                <a:lnTo>
                  <a:pt x="4852153" y="6387798"/>
                </a:lnTo>
                <a:lnTo>
                  <a:pt x="4855070" y="6395275"/>
                </a:lnTo>
                <a:lnTo>
                  <a:pt x="4856529" y="6404028"/>
                </a:lnTo>
                <a:lnTo>
                  <a:pt x="4857259" y="6412964"/>
                </a:lnTo>
                <a:lnTo>
                  <a:pt x="4856529" y="6421900"/>
                </a:lnTo>
                <a:lnTo>
                  <a:pt x="4855070" y="6430106"/>
                </a:lnTo>
                <a:lnTo>
                  <a:pt x="4852153" y="6437401"/>
                </a:lnTo>
                <a:lnTo>
                  <a:pt x="4847594" y="6444148"/>
                </a:lnTo>
                <a:lnTo>
                  <a:pt x="4842487" y="6450166"/>
                </a:lnTo>
                <a:lnTo>
                  <a:pt x="4835740" y="6454543"/>
                </a:lnTo>
                <a:lnTo>
                  <a:pt x="4827716" y="6457460"/>
                </a:lnTo>
                <a:lnTo>
                  <a:pt x="4818781" y="6458190"/>
                </a:lnTo>
                <a:lnTo>
                  <a:pt x="4814951" y="6458190"/>
                </a:lnTo>
                <a:lnTo>
                  <a:pt x="4812033" y="6457460"/>
                </a:lnTo>
                <a:lnTo>
                  <a:pt x="4809115" y="6456731"/>
                </a:lnTo>
                <a:lnTo>
                  <a:pt x="4806198" y="6456001"/>
                </a:lnTo>
                <a:lnTo>
                  <a:pt x="4803097" y="6454543"/>
                </a:lnTo>
                <a:lnTo>
                  <a:pt x="4800180" y="6452354"/>
                </a:lnTo>
                <a:lnTo>
                  <a:pt x="4797991" y="6450895"/>
                </a:lnTo>
                <a:lnTo>
                  <a:pt x="4795074" y="6448525"/>
                </a:lnTo>
                <a:lnTo>
                  <a:pt x="4791973" y="6445607"/>
                </a:lnTo>
                <a:lnTo>
                  <a:pt x="4789785" y="6441230"/>
                </a:lnTo>
                <a:lnTo>
                  <a:pt x="4787597" y="6437401"/>
                </a:lnTo>
                <a:lnTo>
                  <a:pt x="4786138" y="6433024"/>
                </a:lnTo>
                <a:lnTo>
                  <a:pt x="4784679" y="6428647"/>
                </a:lnTo>
                <a:lnTo>
                  <a:pt x="4783220" y="6424088"/>
                </a:lnTo>
                <a:lnTo>
                  <a:pt x="4783220" y="6418982"/>
                </a:lnTo>
                <a:lnTo>
                  <a:pt x="4782308" y="6413694"/>
                </a:lnTo>
                <a:lnTo>
                  <a:pt x="4783220" y="6404940"/>
                </a:lnTo>
                <a:lnTo>
                  <a:pt x="4784679" y="6396734"/>
                </a:lnTo>
                <a:lnTo>
                  <a:pt x="4786867" y="6388528"/>
                </a:lnTo>
                <a:lnTo>
                  <a:pt x="4790515" y="6381051"/>
                </a:lnTo>
                <a:lnTo>
                  <a:pt x="4795803" y="6374486"/>
                </a:lnTo>
                <a:lnTo>
                  <a:pt x="4802368" y="6369927"/>
                </a:lnTo>
                <a:lnTo>
                  <a:pt x="4809845" y="6367009"/>
                </a:lnTo>
                <a:close/>
                <a:moveTo>
                  <a:pt x="4898107" y="6347861"/>
                </a:moveTo>
                <a:lnTo>
                  <a:pt x="4898107" y="6478249"/>
                </a:lnTo>
                <a:lnTo>
                  <a:pt x="4921814" y="6478249"/>
                </a:lnTo>
                <a:lnTo>
                  <a:pt x="4921814" y="6389987"/>
                </a:lnTo>
                <a:lnTo>
                  <a:pt x="4977434" y="6478249"/>
                </a:lnTo>
                <a:lnTo>
                  <a:pt x="5001141" y="6478249"/>
                </a:lnTo>
                <a:lnTo>
                  <a:pt x="5001141" y="6347861"/>
                </a:lnTo>
                <a:lnTo>
                  <a:pt x="4977434" y="6347861"/>
                </a:lnTo>
                <a:lnTo>
                  <a:pt x="4977434" y="6434483"/>
                </a:lnTo>
                <a:lnTo>
                  <a:pt x="4921814" y="6347861"/>
                </a:lnTo>
                <a:close/>
                <a:moveTo>
                  <a:pt x="4528828" y="6347861"/>
                </a:moveTo>
                <a:lnTo>
                  <a:pt x="4528828" y="6408587"/>
                </a:lnTo>
                <a:lnTo>
                  <a:pt x="4551805" y="6478978"/>
                </a:lnTo>
                <a:lnTo>
                  <a:pt x="4625114" y="6478978"/>
                </a:lnTo>
                <a:lnTo>
                  <a:pt x="4625114" y="6456001"/>
                </a:lnTo>
                <a:lnTo>
                  <a:pt x="4551805" y="6456001"/>
                </a:lnTo>
                <a:lnTo>
                  <a:pt x="4551805" y="6419711"/>
                </a:lnTo>
                <a:lnTo>
                  <a:pt x="4603596" y="6419711"/>
                </a:lnTo>
                <a:lnTo>
                  <a:pt x="4603596" y="6397463"/>
                </a:lnTo>
                <a:lnTo>
                  <a:pt x="4551805" y="6397463"/>
                </a:lnTo>
                <a:lnTo>
                  <a:pt x="4551805" y="6369197"/>
                </a:lnTo>
                <a:lnTo>
                  <a:pt x="4620737" y="6369197"/>
                </a:lnTo>
                <a:lnTo>
                  <a:pt x="4620737" y="6347861"/>
                </a:lnTo>
                <a:close/>
                <a:moveTo>
                  <a:pt x="4688210" y="6344031"/>
                </a:moveTo>
                <a:lnTo>
                  <a:pt x="4677086" y="6345490"/>
                </a:lnTo>
                <a:lnTo>
                  <a:pt x="4666692" y="6348590"/>
                </a:lnTo>
                <a:lnTo>
                  <a:pt x="4656297" y="6353696"/>
                </a:lnTo>
                <a:lnTo>
                  <a:pt x="4646632" y="6360444"/>
                </a:lnTo>
                <a:lnTo>
                  <a:pt x="4638608" y="6370838"/>
                </a:lnTo>
                <a:lnTo>
                  <a:pt x="4631861" y="6382692"/>
                </a:lnTo>
                <a:lnTo>
                  <a:pt x="4628214" y="6397463"/>
                </a:lnTo>
                <a:lnTo>
                  <a:pt x="4626755" y="6414423"/>
                </a:lnTo>
                <a:lnTo>
                  <a:pt x="4628214" y="6431565"/>
                </a:lnTo>
                <a:lnTo>
                  <a:pt x="4632591" y="6446336"/>
                </a:lnTo>
                <a:lnTo>
                  <a:pt x="4639338" y="6457460"/>
                </a:lnTo>
                <a:lnTo>
                  <a:pt x="4647362" y="6467125"/>
                </a:lnTo>
                <a:lnTo>
                  <a:pt x="4657027" y="6473872"/>
                </a:lnTo>
                <a:lnTo>
                  <a:pt x="4666692" y="6478249"/>
                </a:lnTo>
                <a:lnTo>
                  <a:pt x="4677816" y="6481167"/>
                </a:lnTo>
                <a:lnTo>
                  <a:pt x="4688210" y="6481896"/>
                </a:lnTo>
                <a:lnTo>
                  <a:pt x="4697146" y="6481167"/>
                </a:lnTo>
                <a:lnTo>
                  <a:pt x="4704623" y="6479708"/>
                </a:lnTo>
                <a:lnTo>
                  <a:pt x="4710458" y="6477520"/>
                </a:lnTo>
                <a:lnTo>
                  <a:pt x="4714835" y="6474602"/>
                </a:lnTo>
                <a:lnTo>
                  <a:pt x="4717935" y="6471502"/>
                </a:lnTo>
                <a:lnTo>
                  <a:pt x="4720853" y="6469313"/>
                </a:lnTo>
                <a:lnTo>
                  <a:pt x="4721582" y="6467854"/>
                </a:lnTo>
                <a:lnTo>
                  <a:pt x="4721582" y="6478978"/>
                </a:lnTo>
                <a:lnTo>
                  <a:pt x="4742371" y="6478978"/>
                </a:lnTo>
                <a:lnTo>
                  <a:pt x="4742371" y="6407128"/>
                </a:lnTo>
                <a:lnTo>
                  <a:pt x="4688940" y="6407128"/>
                </a:lnTo>
                <a:lnTo>
                  <a:pt x="4688940" y="6429376"/>
                </a:lnTo>
                <a:lnTo>
                  <a:pt x="4720853" y="6429376"/>
                </a:lnTo>
                <a:lnTo>
                  <a:pt x="4720123" y="6435212"/>
                </a:lnTo>
                <a:lnTo>
                  <a:pt x="4718664" y="6440500"/>
                </a:lnTo>
                <a:lnTo>
                  <a:pt x="4715746" y="6445606"/>
                </a:lnTo>
                <a:lnTo>
                  <a:pt x="4711917" y="6450165"/>
                </a:lnTo>
                <a:lnTo>
                  <a:pt x="4707540" y="6453813"/>
                </a:lnTo>
                <a:lnTo>
                  <a:pt x="4702252" y="6456001"/>
                </a:lnTo>
                <a:lnTo>
                  <a:pt x="4695687" y="6458189"/>
                </a:lnTo>
                <a:lnTo>
                  <a:pt x="4688940" y="6458919"/>
                </a:lnTo>
                <a:lnTo>
                  <a:pt x="4681463" y="6458189"/>
                </a:lnTo>
                <a:lnTo>
                  <a:pt x="4674898" y="6456001"/>
                </a:lnTo>
                <a:lnTo>
                  <a:pt x="4668880" y="6453083"/>
                </a:lnTo>
                <a:lnTo>
                  <a:pt x="4663045" y="6447795"/>
                </a:lnTo>
                <a:lnTo>
                  <a:pt x="4658486" y="6441959"/>
                </a:lnTo>
                <a:lnTo>
                  <a:pt x="4654838" y="6434482"/>
                </a:lnTo>
                <a:lnTo>
                  <a:pt x="4652650" y="6424817"/>
                </a:lnTo>
                <a:lnTo>
                  <a:pt x="4651921" y="6414423"/>
                </a:lnTo>
                <a:lnTo>
                  <a:pt x="4652650" y="6404028"/>
                </a:lnTo>
                <a:lnTo>
                  <a:pt x="4654109" y="6394545"/>
                </a:lnTo>
                <a:lnTo>
                  <a:pt x="4657027" y="6386339"/>
                </a:lnTo>
                <a:lnTo>
                  <a:pt x="4661586" y="6379592"/>
                </a:lnTo>
                <a:lnTo>
                  <a:pt x="4666692" y="6374486"/>
                </a:lnTo>
                <a:lnTo>
                  <a:pt x="4673439" y="6369927"/>
                </a:lnTo>
                <a:lnTo>
                  <a:pt x="4680733" y="6367009"/>
                </a:lnTo>
                <a:lnTo>
                  <a:pt x="4688940" y="6367009"/>
                </a:lnTo>
                <a:lnTo>
                  <a:pt x="4697146" y="6367738"/>
                </a:lnTo>
                <a:lnTo>
                  <a:pt x="4703711" y="6370838"/>
                </a:lnTo>
                <a:lnTo>
                  <a:pt x="4708999" y="6374486"/>
                </a:lnTo>
                <a:lnTo>
                  <a:pt x="4713376" y="6378862"/>
                </a:lnTo>
                <a:lnTo>
                  <a:pt x="4717205" y="6383421"/>
                </a:lnTo>
                <a:lnTo>
                  <a:pt x="4718664" y="6387068"/>
                </a:lnTo>
                <a:lnTo>
                  <a:pt x="4720123" y="6389986"/>
                </a:lnTo>
                <a:lnTo>
                  <a:pt x="4720853" y="6391445"/>
                </a:lnTo>
                <a:lnTo>
                  <a:pt x="4741642" y="6380321"/>
                </a:lnTo>
                <a:lnTo>
                  <a:pt x="4738724" y="6373027"/>
                </a:lnTo>
                <a:lnTo>
                  <a:pt x="4734165" y="6366279"/>
                </a:lnTo>
                <a:lnTo>
                  <a:pt x="4728329" y="6360444"/>
                </a:lnTo>
                <a:lnTo>
                  <a:pt x="4721582" y="6354426"/>
                </a:lnTo>
                <a:lnTo>
                  <a:pt x="4714105" y="6350779"/>
                </a:lnTo>
                <a:lnTo>
                  <a:pt x="4706081" y="6346949"/>
                </a:lnTo>
                <a:lnTo>
                  <a:pt x="4697146" y="6344761"/>
                </a:lnTo>
                <a:close/>
                <a:moveTo>
                  <a:pt x="4819510" y="6343302"/>
                </a:moveTo>
                <a:lnTo>
                  <a:pt x="4807657" y="6344032"/>
                </a:lnTo>
                <a:lnTo>
                  <a:pt x="4795803" y="6347861"/>
                </a:lnTo>
                <a:lnTo>
                  <a:pt x="4785408" y="6352967"/>
                </a:lnTo>
                <a:lnTo>
                  <a:pt x="4775743" y="6360444"/>
                </a:lnTo>
                <a:lnTo>
                  <a:pt x="4768267" y="6370839"/>
                </a:lnTo>
                <a:lnTo>
                  <a:pt x="4762431" y="6382692"/>
                </a:lnTo>
                <a:lnTo>
                  <a:pt x="4758601" y="6396734"/>
                </a:lnTo>
                <a:lnTo>
                  <a:pt x="4757872" y="6412964"/>
                </a:lnTo>
                <a:lnTo>
                  <a:pt x="4757872" y="6423359"/>
                </a:lnTo>
                <a:lnTo>
                  <a:pt x="4759331" y="6432294"/>
                </a:lnTo>
                <a:lnTo>
                  <a:pt x="4761702" y="6441230"/>
                </a:lnTo>
                <a:lnTo>
                  <a:pt x="4765349" y="6448525"/>
                </a:lnTo>
                <a:lnTo>
                  <a:pt x="4768996" y="6455272"/>
                </a:lnTo>
                <a:lnTo>
                  <a:pt x="4774284" y="6462019"/>
                </a:lnTo>
                <a:lnTo>
                  <a:pt x="4779391" y="6467125"/>
                </a:lnTo>
                <a:lnTo>
                  <a:pt x="4785408" y="6471502"/>
                </a:lnTo>
                <a:lnTo>
                  <a:pt x="4789056" y="6473873"/>
                </a:lnTo>
                <a:lnTo>
                  <a:pt x="4792703" y="6475332"/>
                </a:lnTo>
                <a:lnTo>
                  <a:pt x="4797262" y="6477520"/>
                </a:lnTo>
                <a:lnTo>
                  <a:pt x="4801639" y="6478979"/>
                </a:lnTo>
                <a:lnTo>
                  <a:pt x="4806198" y="6479708"/>
                </a:lnTo>
                <a:lnTo>
                  <a:pt x="4810574" y="6480438"/>
                </a:lnTo>
                <a:lnTo>
                  <a:pt x="4814951" y="6481167"/>
                </a:lnTo>
                <a:lnTo>
                  <a:pt x="4819510" y="6481167"/>
                </a:lnTo>
                <a:lnTo>
                  <a:pt x="4832822" y="6479708"/>
                </a:lnTo>
                <a:lnTo>
                  <a:pt x="4845405" y="6476061"/>
                </a:lnTo>
                <a:lnTo>
                  <a:pt x="4855800" y="6470043"/>
                </a:lnTo>
                <a:lnTo>
                  <a:pt x="4864735" y="6462019"/>
                </a:lnTo>
                <a:lnTo>
                  <a:pt x="4872030" y="6452354"/>
                </a:lnTo>
                <a:lnTo>
                  <a:pt x="4878048" y="6441230"/>
                </a:lnTo>
                <a:lnTo>
                  <a:pt x="4880966" y="6427918"/>
                </a:lnTo>
                <a:lnTo>
                  <a:pt x="4881695" y="6412964"/>
                </a:lnTo>
                <a:lnTo>
                  <a:pt x="4880236" y="6396005"/>
                </a:lnTo>
                <a:lnTo>
                  <a:pt x="4875859" y="6381051"/>
                </a:lnTo>
                <a:lnTo>
                  <a:pt x="4869842" y="6369198"/>
                </a:lnTo>
                <a:lnTo>
                  <a:pt x="4860906" y="6359715"/>
                </a:lnTo>
                <a:lnTo>
                  <a:pt x="4852153" y="6352238"/>
                </a:lnTo>
                <a:lnTo>
                  <a:pt x="4841029" y="6346949"/>
                </a:lnTo>
                <a:lnTo>
                  <a:pt x="4829905" y="6344032"/>
                </a:lnTo>
                <a:close/>
                <a:moveTo>
                  <a:pt x="4494726" y="6308471"/>
                </a:moveTo>
                <a:lnTo>
                  <a:pt x="4307807" y="6369927"/>
                </a:lnTo>
                <a:lnTo>
                  <a:pt x="4369445" y="6558305"/>
                </a:lnTo>
                <a:lnTo>
                  <a:pt x="4533934" y="6504144"/>
                </a:lnTo>
                <a:lnTo>
                  <a:pt x="4519892" y="6458919"/>
                </a:lnTo>
                <a:lnTo>
                  <a:pt x="4467920" y="6458919"/>
                </a:lnTo>
                <a:lnTo>
                  <a:pt x="4462084" y="6479708"/>
                </a:lnTo>
                <a:lnTo>
                  <a:pt x="4435277" y="6479708"/>
                </a:lnTo>
                <a:lnTo>
                  <a:pt x="4479773" y="6346220"/>
                </a:lnTo>
                <a:lnTo>
                  <a:pt x="4507309" y="6346220"/>
                </a:lnTo>
                <a:close/>
                <a:moveTo>
                  <a:pt x="2353342" y="0"/>
                </a:moveTo>
                <a:lnTo>
                  <a:pt x="6077554" y="10395"/>
                </a:lnTo>
                <a:lnTo>
                  <a:pt x="6087079" y="4007761"/>
                </a:lnTo>
                <a:lnTo>
                  <a:pt x="5101422" y="6885758"/>
                </a:lnTo>
                <a:lnTo>
                  <a:pt x="0" y="6879986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None/>
              <a:defRPr lang="nl-NL" sz="1600"/>
            </a:lvl1pPr>
          </a:lstStyle>
          <a:p>
            <a:pPr marL="228600" lvl="0" indent="-228600" algn="ctr"/>
            <a:r>
              <a:rPr lang="en-US" noProof="0" dirty="0"/>
              <a:t>Click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7143071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5511603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6955681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6735762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5650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8" y="1944546"/>
            <a:ext cx="10531475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3611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 userDrawn="1">
          <p15:clr>
            <a:srgbClr val="FBAE40"/>
          </p15:clr>
        </p15:guide>
        <p15:guide id="2" orient="horz" pos="323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">
    <p:bg>
      <p:bgPr>
        <a:gradFill flip="none" rotWithShape="1">
          <a:gsLst>
            <a:gs pos="0">
              <a:schemeClr val="accent4">
                <a:lumMod val="90000"/>
              </a:schemeClr>
            </a:gs>
            <a:gs pos="100000">
              <a:srgbClr val="FFFFFF"/>
            </a:gs>
            <a:gs pos="38000">
              <a:schemeClr val="accent4"/>
            </a:gs>
          </a:gsLst>
          <a:lin ang="81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2400" y="3569911"/>
            <a:ext cx="5080000" cy="738664"/>
          </a:xfrm>
          <a:noFill/>
        </p:spPr>
        <p:txBody>
          <a:bodyPr wrap="square" lIns="91440" anchor="b" anchorCtr="0">
            <a:spAutoFit/>
          </a:bodyPr>
          <a:lstStyle>
            <a:lvl1pPr algn="l">
              <a:lnSpc>
                <a:spcPct val="75000"/>
              </a:lnSpc>
              <a:defRPr sz="3200" b="0" cap="none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Agenda item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22400" y="4377076"/>
            <a:ext cx="5080000" cy="207749"/>
          </a:xfrm>
        </p:spPr>
        <p:txBody>
          <a:bodyPr wrap="square" lIns="91440">
            <a:spAutoFit/>
          </a:bodyPr>
          <a:lstStyle>
            <a:lvl1pPr marL="0" indent="0" algn="l">
              <a:lnSpc>
                <a:spcPct val="75000"/>
              </a:lnSpc>
              <a:buNone/>
              <a:defRPr sz="1800" b="0" i="0">
                <a:solidFill>
                  <a:srgbClr val="2D2D2A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 hasCustomPrompt="1"/>
          </p:nvPr>
        </p:nvSpPr>
        <p:spPr>
          <a:xfrm>
            <a:off x="7112000" y="457200"/>
            <a:ext cx="4673600" cy="38100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1200"/>
              </a:spcBef>
              <a:defRPr sz="1800" i="0" baseline="0">
                <a:solidFill>
                  <a:srgbClr val="2D2D2A"/>
                </a:solidFill>
                <a:latin typeface="Calibri"/>
                <a:cs typeface="Calibri"/>
              </a:defRPr>
            </a:lvl1pPr>
            <a:lvl2pPr marL="0" indent="4763">
              <a:lnSpc>
                <a:spcPct val="100000"/>
              </a:lnSpc>
              <a:spcBef>
                <a:spcPts val="600"/>
              </a:spcBef>
              <a:tabLst/>
              <a:defRPr sz="1800" i="0">
                <a:solidFill>
                  <a:srgbClr val="2D2D2A"/>
                </a:solidFill>
                <a:latin typeface="Calibri"/>
                <a:cs typeface="Calibri"/>
              </a:defRPr>
            </a:lvl2pPr>
            <a:lvl3pPr marL="0" indent="1588">
              <a:lnSpc>
                <a:spcPct val="100000"/>
              </a:lnSpc>
              <a:spcBef>
                <a:spcPts val="600"/>
              </a:spcBef>
              <a:defRPr sz="1800" i="0">
                <a:solidFill>
                  <a:srgbClr val="2D2D2A"/>
                </a:solidFill>
                <a:latin typeface="Calibri"/>
                <a:cs typeface="Calibri"/>
              </a:defRPr>
            </a:lvl3pPr>
            <a:lvl4pPr marL="0" indent="4763">
              <a:lnSpc>
                <a:spcPct val="100000"/>
              </a:lnSpc>
              <a:spcBef>
                <a:spcPts val="600"/>
              </a:spcBef>
              <a:defRPr sz="1800" i="0">
                <a:solidFill>
                  <a:srgbClr val="2D2D2A"/>
                </a:solidFill>
                <a:latin typeface="Calibri"/>
                <a:cs typeface="Calibri"/>
              </a:defRPr>
            </a:lvl4pPr>
            <a:lvl5pPr marL="0" indent="1588">
              <a:lnSpc>
                <a:spcPct val="100000"/>
              </a:lnSpc>
              <a:spcBef>
                <a:spcPts val="600"/>
              </a:spcBef>
              <a:tabLst/>
              <a:defRPr sz="1800" i="0">
                <a:solidFill>
                  <a:srgbClr val="2D2D2A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Add a description or a list of all agenda items in the deck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908800" y="0"/>
            <a:ext cx="0" cy="42672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1832160"/>
      </p:ext>
    </p:extLst>
  </p:cSld>
  <p:clrMapOvr>
    <a:masterClrMapping/>
  </p:clrMapOvr>
  <p:transition spd="slow">
    <p:push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1" y="389402"/>
            <a:ext cx="11582400" cy="524998"/>
          </a:xfrm>
        </p:spPr>
        <p:txBody>
          <a:bodyPr lIns="91440" rIns="91440" anchor="t" anchorCtr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slide headline</a:t>
            </a:r>
          </a:p>
        </p:txBody>
      </p:sp>
      <p:sp>
        <p:nvSpPr>
          <p:cNvPr id="15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04800" y="990600"/>
            <a:ext cx="11582400" cy="381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800" b="0" i="1">
                <a:solidFill>
                  <a:srgbClr val="F37021"/>
                </a:solidFill>
                <a:latin typeface="Georgia"/>
                <a:cs typeface="Georg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subheading</a:t>
            </a:r>
          </a:p>
        </p:txBody>
      </p:sp>
      <p:sp>
        <p:nvSpPr>
          <p:cNvPr id="154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304800" y="76200"/>
            <a:ext cx="11582400" cy="304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200" b="1" i="0" cap="all">
                <a:solidFill>
                  <a:srgbClr val="F37021"/>
                </a:solidFill>
                <a:latin typeface="Calibri"/>
                <a:cs typeface="Calibr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OP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524001"/>
            <a:ext cx="11582400" cy="4875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600" b="1" i="0">
                <a:solidFill>
                  <a:srgbClr val="F37021"/>
                </a:solidFill>
                <a:latin typeface="Calibri"/>
                <a:cs typeface="Calibri"/>
              </a:defRPr>
            </a:lvl1pPr>
            <a:lvl2pPr marL="0" indent="0">
              <a:lnSpc>
                <a:spcPct val="100000"/>
              </a:lnSpc>
              <a:buFont typeface="Arial"/>
              <a:buNone/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2pPr>
            <a:lvl3pPr marL="0" indent="0">
              <a:lnSpc>
                <a:spcPct val="100000"/>
              </a:lnSpc>
              <a:buFont typeface="Arial"/>
              <a:buNone/>
              <a:defRPr sz="1600" b="0">
                <a:solidFill>
                  <a:schemeClr val="tx1"/>
                </a:solidFill>
                <a:latin typeface="Calibri"/>
                <a:cs typeface="Calibri"/>
              </a:defRPr>
            </a:lvl3pPr>
            <a:lvl4pPr marL="0" indent="0">
              <a:lnSpc>
                <a:spcPct val="100000"/>
              </a:lnSpc>
              <a:buFont typeface="Arial"/>
              <a:buNone/>
              <a:defRPr sz="1200" b="1" i="0" cap="all">
                <a:solidFill>
                  <a:srgbClr val="2D2D2A"/>
                </a:solidFill>
                <a:latin typeface="Calibri"/>
                <a:cs typeface="Calibri"/>
              </a:defRPr>
            </a:lvl4pPr>
            <a:lvl5pPr marL="0" indent="0">
              <a:lnSpc>
                <a:spcPct val="100000"/>
              </a:lnSpc>
              <a:buFont typeface="Arial"/>
              <a:buNone/>
              <a:defRPr sz="1200" b="1" baseline="0">
                <a:latin typeface="Calibri"/>
                <a:cs typeface="Calibri"/>
              </a:defRPr>
            </a:lvl5pPr>
            <a:lvl6pPr marL="0" indent="0">
              <a:spcBef>
                <a:spcPts val="600"/>
              </a:spcBef>
              <a:buFont typeface="Arial"/>
              <a:buNone/>
              <a:defRPr sz="1200">
                <a:solidFill>
                  <a:schemeClr val="tx2"/>
                </a:solidFill>
                <a:latin typeface="Calibri"/>
                <a:cs typeface="Calibri"/>
              </a:defRPr>
            </a:lvl6pPr>
          </a:lstStyle>
          <a:p>
            <a:r>
              <a:rPr lang="en-US" sz="1800" dirty="0"/>
              <a:t>Click to edit text</a:t>
            </a:r>
          </a:p>
          <a:p>
            <a:pPr lvl="1"/>
            <a:r>
              <a:rPr lang="en-US" sz="1800" dirty="0"/>
              <a:t>Click tab for second level</a:t>
            </a:r>
          </a:p>
          <a:p>
            <a:pPr lvl="2"/>
            <a:r>
              <a:rPr lang="en-US" sz="1800" dirty="0"/>
              <a:t>Click tab for third level (great for body text)</a:t>
            </a:r>
          </a:p>
          <a:p>
            <a:pPr lvl="3">
              <a:spcBef>
                <a:spcPts val="1200"/>
              </a:spcBef>
            </a:pPr>
            <a:r>
              <a:rPr lang="en-US" sz="1400" dirty="0"/>
              <a:t>Click tab for fourth level (great for sub-heads)</a:t>
            </a:r>
          </a:p>
          <a:p>
            <a:pPr lvl="4"/>
            <a:r>
              <a:rPr lang="en-US" sz="1600" dirty="0"/>
              <a:t>Click tab for fifth level</a:t>
            </a:r>
          </a:p>
          <a:p>
            <a:pPr lvl="5"/>
            <a:r>
              <a:rPr lang="en-US" sz="1600" dirty="0"/>
              <a:t>Click tab for sixth level (great for body text)</a:t>
            </a:r>
          </a:p>
        </p:txBody>
      </p:sp>
      <p:sp>
        <p:nvSpPr>
          <p:cNvPr id="8" name="Rectangle 7"/>
          <p:cNvSpPr/>
          <p:nvPr userDrawn="1"/>
        </p:nvSpPr>
        <p:spPr>
          <a:xfrm rot="5400000">
            <a:off x="6019801" y="-1142999"/>
            <a:ext cx="152401" cy="2438400"/>
          </a:xfrm>
          <a:prstGeom prst="rect">
            <a:avLst/>
          </a:prstGeom>
          <a:solidFill>
            <a:srgbClr val="F37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78930711"/>
      </p:ext>
    </p:extLst>
  </p:cSld>
  <p:clrMapOvr>
    <a:masterClrMapping/>
  </p:clrMapOvr>
  <p:transition spd="slow">
    <p:push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1" y="389402"/>
            <a:ext cx="11582400" cy="524998"/>
          </a:xfrm>
        </p:spPr>
        <p:txBody>
          <a:bodyPr lIns="91440" rIns="91440" anchor="t" anchorCtr="0"/>
          <a:lstStyle>
            <a:lvl1pPr>
              <a:defRPr sz="2400">
                <a:solidFill>
                  <a:srgbClr val="000000"/>
                </a:solidFill>
                <a:latin typeface="Calibri"/>
                <a:cs typeface="Calibri"/>
              </a:defRPr>
            </a:lvl1pPr>
          </a:lstStyle>
          <a:p>
            <a:r>
              <a:rPr lang="en-US" dirty="0"/>
              <a:t>Click to edit slide headlin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304801" y="995852"/>
            <a:ext cx="11582400" cy="29954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rgbClr val="F37021"/>
                </a:solidFill>
                <a:latin typeface="Georgia"/>
                <a:cs typeface="Georg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subheading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04800" y="76200"/>
            <a:ext cx="11582400" cy="304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None/>
              <a:defRPr sz="1200" b="1" i="0" cap="all">
                <a:solidFill>
                  <a:srgbClr val="F37021"/>
                </a:solidFill>
                <a:latin typeface="Calibri"/>
                <a:cs typeface="Calibr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section heading</a:t>
            </a:r>
          </a:p>
        </p:txBody>
      </p:sp>
      <p:sp>
        <p:nvSpPr>
          <p:cNvPr id="6" name="Rectangle 5"/>
          <p:cNvSpPr/>
          <p:nvPr userDrawn="1"/>
        </p:nvSpPr>
        <p:spPr>
          <a:xfrm rot="5400000">
            <a:off x="6019801" y="-1142999"/>
            <a:ext cx="152401" cy="2438400"/>
          </a:xfrm>
          <a:prstGeom prst="rect">
            <a:avLst/>
          </a:prstGeom>
          <a:solidFill>
            <a:srgbClr val="F37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24867961"/>
      </p:ext>
    </p:extLst>
  </p:cSld>
  <p:clrMapOvr>
    <a:masterClrMapping/>
  </p:clrMapOvr>
  <p:transition spd="slow">
    <p:push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3">
            <a:extLst>
              <a:ext uri="{FF2B5EF4-FFF2-40B4-BE49-F238E27FC236}">
                <a16:creationId xmlns:a16="http://schemas.microsoft.com/office/drawing/2014/main" id="{0F111399-0853-4003-B801-EEE0A470D4D4}"/>
              </a:ext>
            </a:extLst>
          </p:cNvPr>
          <p:cNvGrpSpPr/>
          <p:nvPr userDrawn="1"/>
        </p:nvGrpSpPr>
        <p:grpSpPr>
          <a:xfrm>
            <a:off x="1338368" y="1900547"/>
            <a:ext cx="9605085" cy="4132027"/>
            <a:chOff x="1289907" y="1209727"/>
            <a:chExt cx="9605085" cy="4132027"/>
          </a:xfrm>
        </p:grpSpPr>
        <p:sp>
          <p:nvSpPr>
            <p:cNvPr id="9" name="Rectangle 35">
              <a:extLst>
                <a:ext uri="{FF2B5EF4-FFF2-40B4-BE49-F238E27FC236}">
                  <a16:creationId xmlns:a16="http://schemas.microsoft.com/office/drawing/2014/main" id="{9F0202DC-D15A-461B-B46A-8C32477B30E1}"/>
                </a:ext>
              </a:extLst>
            </p:cNvPr>
            <p:cNvSpPr/>
            <p:nvPr/>
          </p:nvSpPr>
          <p:spPr>
            <a:xfrm>
              <a:off x="6143002" y="1209727"/>
              <a:ext cx="4751990" cy="20200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42">
              <a:extLst>
                <a:ext uri="{FF2B5EF4-FFF2-40B4-BE49-F238E27FC236}">
                  <a16:creationId xmlns:a16="http://schemas.microsoft.com/office/drawing/2014/main" id="{E29D36D8-FC89-4FD1-8DB6-2DF884D771EC}"/>
                </a:ext>
              </a:extLst>
            </p:cNvPr>
            <p:cNvSpPr/>
            <p:nvPr/>
          </p:nvSpPr>
          <p:spPr>
            <a:xfrm>
              <a:off x="1289907" y="1209727"/>
              <a:ext cx="4751990" cy="20200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43">
              <a:extLst>
                <a:ext uri="{FF2B5EF4-FFF2-40B4-BE49-F238E27FC236}">
                  <a16:creationId xmlns:a16="http://schemas.microsoft.com/office/drawing/2014/main" id="{B2A292D7-806F-40A6-8A45-E82055912C74}"/>
                </a:ext>
              </a:extLst>
            </p:cNvPr>
            <p:cNvSpPr/>
            <p:nvPr/>
          </p:nvSpPr>
          <p:spPr>
            <a:xfrm>
              <a:off x="6143002" y="3321670"/>
              <a:ext cx="4751990" cy="20200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44">
              <a:extLst>
                <a:ext uri="{FF2B5EF4-FFF2-40B4-BE49-F238E27FC236}">
                  <a16:creationId xmlns:a16="http://schemas.microsoft.com/office/drawing/2014/main" id="{002B7D63-A551-4F0C-8495-F05187FF87C4}"/>
                </a:ext>
              </a:extLst>
            </p:cNvPr>
            <p:cNvSpPr/>
            <p:nvPr/>
          </p:nvSpPr>
          <p:spPr>
            <a:xfrm>
              <a:off x="1289907" y="3321670"/>
              <a:ext cx="4751990" cy="20200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/>
              <a:t>Place footnotes in this area</a:t>
            </a:r>
          </a:p>
          <a:p>
            <a:pPr lvl="1"/>
            <a:endParaRPr lang="nl-N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00175" y="1962150"/>
            <a:ext cx="3631463" cy="1866900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98C254CC-74B9-40A5-9891-B6101C2F993E}"/>
              </a:ext>
            </a:extLst>
          </p:cNvPr>
          <p:cNvSpPr/>
          <p:nvPr userDrawn="1"/>
        </p:nvSpPr>
        <p:spPr>
          <a:xfrm>
            <a:off x="4656729" y="2485354"/>
            <a:ext cx="1385168" cy="1389348"/>
          </a:xfrm>
          <a:custGeom>
            <a:avLst/>
            <a:gdLst>
              <a:gd name="connsiteX0" fmla="*/ 1385168 w 1385168"/>
              <a:gd name="connsiteY0" fmla="*/ 0 h 1389348"/>
              <a:gd name="connsiteX1" fmla="*/ 1385168 w 1385168"/>
              <a:gd name="connsiteY1" fmla="*/ 1389348 h 1389348"/>
              <a:gd name="connsiteX2" fmla="*/ 0 w 1385168"/>
              <a:gd name="connsiteY2" fmla="*/ 1389348 h 1389348"/>
              <a:gd name="connsiteX3" fmla="*/ 2484 w 1385168"/>
              <a:gd name="connsiteY3" fmla="*/ 1363430 h 1389348"/>
              <a:gd name="connsiteX4" fmla="*/ 105777 w 1385168"/>
              <a:gd name="connsiteY4" fmla="*/ 1169282 h 1389348"/>
              <a:gd name="connsiteX5" fmla="*/ 1169725 w 1385168"/>
              <a:gd name="connsiteY5" fmla="*/ 105334 h 1389348"/>
              <a:gd name="connsiteX6" fmla="*/ 1363873 w 1385168"/>
              <a:gd name="connsiteY6" fmla="*/ 2041 h 1389348"/>
              <a:gd name="connsiteX0" fmla="*/ 1385168 w 1476608"/>
              <a:gd name="connsiteY0" fmla="*/ 1389348 h 1480788"/>
              <a:gd name="connsiteX1" fmla="*/ 0 w 1476608"/>
              <a:gd name="connsiteY1" fmla="*/ 1389348 h 1480788"/>
              <a:gd name="connsiteX2" fmla="*/ 2484 w 1476608"/>
              <a:gd name="connsiteY2" fmla="*/ 1363430 h 1480788"/>
              <a:gd name="connsiteX3" fmla="*/ 105777 w 1476608"/>
              <a:gd name="connsiteY3" fmla="*/ 1169282 h 1480788"/>
              <a:gd name="connsiteX4" fmla="*/ 1169725 w 1476608"/>
              <a:gd name="connsiteY4" fmla="*/ 105334 h 1480788"/>
              <a:gd name="connsiteX5" fmla="*/ 1363873 w 1476608"/>
              <a:gd name="connsiteY5" fmla="*/ 2041 h 1480788"/>
              <a:gd name="connsiteX6" fmla="*/ 1385168 w 1476608"/>
              <a:gd name="connsiteY6" fmla="*/ 0 h 1480788"/>
              <a:gd name="connsiteX7" fmla="*/ 1476608 w 1476608"/>
              <a:gd name="connsiteY7" fmla="*/ 1480788 h 1480788"/>
              <a:gd name="connsiteX0" fmla="*/ 1385168 w 1385168"/>
              <a:gd name="connsiteY0" fmla="*/ 1389348 h 1389348"/>
              <a:gd name="connsiteX1" fmla="*/ 0 w 1385168"/>
              <a:gd name="connsiteY1" fmla="*/ 1389348 h 1389348"/>
              <a:gd name="connsiteX2" fmla="*/ 2484 w 1385168"/>
              <a:gd name="connsiteY2" fmla="*/ 1363430 h 1389348"/>
              <a:gd name="connsiteX3" fmla="*/ 105777 w 1385168"/>
              <a:gd name="connsiteY3" fmla="*/ 1169282 h 1389348"/>
              <a:gd name="connsiteX4" fmla="*/ 1169725 w 1385168"/>
              <a:gd name="connsiteY4" fmla="*/ 105334 h 1389348"/>
              <a:gd name="connsiteX5" fmla="*/ 1363873 w 1385168"/>
              <a:gd name="connsiteY5" fmla="*/ 2041 h 1389348"/>
              <a:gd name="connsiteX6" fmla="*/ 1385168 w 1385168"/>
              <a:gd name="connsiteY6" fmla="*/ 0 h 1389348"/>
              <a:gd name="connsiteX0" fmla="*/ 0 w 1385168"/>
              <a:gd name="connsiteY0" fmla="*/ 1389348 h 1389348"/>
              <a:gd name="connsiteX1" fmla="*/ 2484 w 1385168"/>
              <a:gd name="connsiteY1" fmla="*/ 1363430 h 1389348"/>
              <a:gd name="connsiteX2" fmla="*/ 105777 w 1385168"/>
              <a:gd name="connsiteY2" fmla="*/ 1169282 h 1389348"/>
              <a:gd name="connsiteX3" fmla="*/ 1169725 w 1385168"/>
              <a:gd name="connsiteY3" fmla="*/ 105334 h 1389348"/>
              <a:gd name="connsiteX4" fmla="*/ 1363873 w 1385168"/>
              <a:gd name="connsiteY4" fmla="*/ 2041 h 1389348"/>
              <a:gd name="connsiteX5" fmla="*/ 1385168 w 1385168"/>
              <a:gd name="connsiteY5" fmla="*/ 0 h 1389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85168" h="1389348">
                <a:moveTo>
                  <a:pt x="0" y="1389348"/>
                </a:moveTo>
                <a:lnTo>
                  <a:pt x="2484" y="1363430"/>
                </a:lnTo>
                <a:cubicBezTo>
                  <a:pt x="16256" y="1292296"/>
                  <a:pt x="50687" y="1224371"/>
                  <a:pt x="105777" y="1169282"/>
                </a:cubicBezTo>
                <a:lnTo>
                  <a:pt x="1169725" y="105334"/>
                </a:lnTo>
                <a:cubicBezTo>
                  <a:pt x="1224815" y="50244"/>
                  <a:pt x="1292740" y="15814"/>
                  <a:pt x="1363873" y="2041"/>
                </a:cubicBezTo>
                <a:lnTo>
                  <a:pt x="1385168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B69BB58D-0B1D-49CF-AC59-FABFB91E2B11}"/>
              </a:ext>
            </a:extLst>
          </p:cNvPr>
          <p:cNvSpPr/>
          <p:nvPr userDrawn="1"/>
        </p:nvSpPr>
        <p:spPr>
          <a:xfrm>
            <a:off x="4937155" y="2761246"/>
            <a:ext cx="1104742" cy="1113457"/>
          </a:xfrm>
          <a:custGeom>
            <a:avLst/>
            <a:gdLst>
              <a:gd name="connsiteX0" fmla="*/ 1104742 w 1104742"/>
              <a:gd name="connsiteY0" fmla="*/ 0 h 1113457"/>
              <a:gd name="connsiteX1" fmla="*/ 1104742 w 1104742"/>
              <a:gd name="connsiteY1" fmla="*/ 1113457 h 1113457"/>
              <a:gd name="connsiteX2" fmla="*/ 0 w 1104742"/>
              <a:gd name="connsiteY2" fmla="*/ 1113457 h 1113457"/>
              <a:gd name="connsiteX3" fmla="*/ 13331 w 1104742"/>
              <a:gd name="connsiteY3" fmla="*/ 1044950 h 1113457"/>
              <a:gd name="connsiteX4" fmla="*/ 80134 w 1104742"/>
              <a:gd name="connsiteY4" fmla="*/ 944349 h 1113457"/>
              <a:gd name="connsiteX5" fmla="*/ 940257 w 1104742"/>
              <a:gd name="connsiteY5" fmla="*/ 84226 h 1113457"/>
              <a:gd name="connsiteX6" fmla="*/ 1097211 w 1104742"/>
              <a:gd name="connsiteY6" fmla="*/ 722 h 1113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4742" h="1113457">
                <a:moveTo>
                  <a:pt x="1104742" y="0"/>
                </a:moveTo>
                <a:lnTo>
                  <a:pt x="1104742" y="1113457"/>
                </a:lnTo>
                <a:lnTo>
                  <a:pt x="0" y="1113457"/>
                </a:lnTo>
                <a:lnTo>
                  <a:pt x="13331" y="1044950"/>
                </a:lnTo>
                <a:cubicBezTo>
                  <a:pt x="28176" y="1008342"/>
                  <a:pt x="50444" y="974040"/>
                  <a:pt x="80134" y="944349"/>
                </a:cubicBezTo>
                <a:lnTo>
                  <a:pt x="940257" y="84226"/>
                </a:lnTo>
                <a:cubicBezTo>
                  <a:pt x="984793" y="39691"/>
                  <a:pt x="1039705" y="11856"/>
                  <a:pt x="1097211" y="7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 15">
            <a:extLst>
              <a:ext uri="{FF2B5EF4-FFF2-40B4-BE49-F238E27FC236}">
                <a16:creationId xmlns:a16="http://schemas.microsoft.com/office/drawing/2014/main" id="{36A11DBA-8340-488E-9332-C90AAF45B3EB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6017211" y="2789844"/>
            <a:ext cx="844084" cy="1568503"/>
          </a:xfrm>
          <a:custGeom>
            <a:avLst/>
            <a:gdLst>
              <a:gd name="connsiteX0" fmla="*/ 787333 w 844084"/>
              <a:gd name="connsiteY0" fmla="*/ 0 h 1568503"/>
              <a:gd name="connsiteX1" fmla="*/ 792147 w 844084"/>
              <a:gd name="connsiteY1" fmla="*/ 5835 h 1568503"/>
              <a:gd name="connsiteX2" fmla="*/ 844084 w 844084"/>
              <a:gd name="connsiteY2" fmla="*/ 175864 h 1568503"/>
              <a:gd name="connsiteX3" fmla="*/ 844084 w 844084"/>
              <a:gd name="connsiteY3" fmla="*/ 1392262 h 1568503"/>
              <a:gd name="connsiteX4" fmla="*/ 820186 w 844084"/>
              <a:gd name="connsiteY4" fmla="*/ 1510635 h 1568503"/>
              <a:gd name="connsiteX5" fmla="*/ 781170 w 844084"/>
              <a:gd name="connsiteY5" fmla="*/ 1568503 h 1568503"/>
              <a:gd name="connsiteX6" fmla="*/ 0 w 844084"/>
              <a:gd name="connsiteY6" fmla="*/ 787333 h 1568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4084" h="1568503">
                <a:moveTo>
                  <a:pt x="787333" y="0"/>
                </a:moveTo>
                <a:lnTo>
                  <a:pt x="792147" y="5835"/>
                </a:lnTo>
                <a:cubicBezTo>
                  <a:pt x="824938" y="54371"/>
                  <a:pt x="844084" y="112881"/>
                  <a:pt x="844084" y="175864"/>
                </a:cubicBezTo>
                <a:lnTo>
                  <a:pt x="844084" y="1392262"/>
                </a:lnTo>
                <a:cubicBezTo>
                  <a:pt x="844084" y="1434251"/>
                  <a:pt x="835575" y="1474252"/>
                  <a:pt x="820186" y="1510635"/>
                </a:cubicBezTo>
                <a:lnTo>
                  <a:pt x="781170" y="1568503"/>
                </a:lnTo>
                <a:lnTo>
                  <a:pt x="0" y="78733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299C1602-1934-42DC-A4B4-34AB2EDE311A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5655001" y="3845128"/>
            <a:ext cx="1568502" cy="844083"/>
          </a:xfrm>
          <a:custGeom>
            <a:avLst/>
            <a:gdLst>
              <a:gd name="connsiteX0" fmla="*/ 787332 w 1568502"/>
              <a:gd name="connsiteY0" fmla="*/ 0 h 844083"/>
              <a:gd name="connsiteX1" fmla="*/ 1568502 w 1568502"/>
              <a:gd name="connsiteY1" fmla="*/ 781170 h 844083"/>
              <a:gd name="connsiteX2" fmla="*/ 1510635 w 1568502"/>
              <a:gd name="connsiteY2" fmla="*/ 820185 h 844083"/>
              <a:gd name="connsiteX3" fmla="*/ 1392262 w 1568502"/>
              <a:gd name="connsiteY3" fmla="*/ 844083 h 844083"/>
              <a:gd name="connsiteX4" fmla="*/ 175864 w 1568502"/>
              <a:gd name="connsiteY4" fmla="*/ 844083 h 844083"/>
              <a:gd name="connsiteX5" fmla="*/ 5835 w 1568502"/>
              <a:gd name="connsiteY5" fmla="*/ 792146 h 844083"/>
              <a:gd name="connsiteX6" fmla="*/ 0 w 1568502"/>
              <a:gd name="connsiteY6" fmla="*/ 787332 h 844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68502" h="844083">
                <a:moveTo>
                  <a:pt x="787332" y="0"/>
                </a:moveTo>
                <a:lnTo>
                  <a:pt x="1568502" y="781170"/>
                </a:lnTo>
                <a:lnTo>
                  <a:pt x="1510635" y="820185"/>
                </a:lnTo>
                <a:cubicBezTo>
                  <a:pt x="1474252" y="835574"/>
                  <a:pt x="1434251" y="844083"/>
                  <a:pt x="1392262" y="844083"/>
                </a:cubicBezTo>
                <a:lnTo>
                  <a:pt x="175864" y="844083"/>
                </a:lnTo>
                <a:cubicBezTo>
                  <a:pt x="112881" y="844083"/>
                  <a:pt x="54371" y="824937"/>
                  <a:pt x="5835" y="792146"/>
                </a:cubicBezTo>
                <a:lnTo>
                  <a:pt x="0" y="78733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95C505BA-60C7-4516-A2F3-F6C352F531C3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5323605" y="3482917"/>
            <a:ext cx="844084" cy="1568502"/>
          </a:xfrm>
          <a:custGeom>
            <a:avLst/>
            <a:gdLst>
              <a:gd name="connsiteX0" fmla="*/ 62914 w 844084"/>
              <a:gd name="connsiteY0" fmla="*/ 0 h 1568502"/>
              <a:gd name="connsiteX1" fmla="*/ 844084 w 844084"/>
              <a:gd name="connsiteY1" fmla="*/ 781170 h 1568502"/>
              <a:gd name="connsiteX2" fmla="*/ 56752 w 844084"/>
              <a:gd name="connsiteY2" fmla="*/ 1568502 h 1568502"/>
              <a:gd name="connsiteX3" fmla="*/ 51937 w 844084"/>
              <a:gd name="connsiteY3" fmla="*/ 1562666 h 1568502"/>
              <a:gd name="connsiteX4" fmla="*/ 0 w 844084"/>
              <a:gd name="connsiteY4" fmla="*/ 1392637 h 1568502"/>
              <a:gd name="connsiteX5" fmla="*/ 0 w 844084"/>
              <a:gd name="connsiteY5" fmla="*/ 176239 h 1568502"/>
              <a:gd name="connsiteX6" fmla="*/ 23898 w 844084"/>
              <a:gd name="connsiteY6" fmla="*/ 57867 h 15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4084" h="1568502">
                <a:moveTo>
                  <a:pt x="62914" y="0"/>
                </a:moveTo>
                <a:lnTo>
                  <a:pt x="844084" y="781170"/>
                </a:lnTo>
                <a:lnTo>
                  <a:pt x="56752" y="1568502"/>
                </a:lnTo>
                <a:lnTo>
                  <a:pt x="51937" y="1562666"/>
                </a:lnTo>
                <a:cubicBezTo>
                  <a:pt x="19147" y="1514131"/>
                  <a:pt x="0" y="1455620"/>
                  <a:pt x="0" y="1392637"/>
                </a:cubicBezTo>
                <a:lnTo>
                  <a:pt x="0" y="176239"/>
                </a:lnTo>
                <a:cubicBezTo>
                  <a:pt x="0" y="134250"/>
                  <a:pt x="8510" y="94250"/>
                  <a:pt x="23898" y="5786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Freeform 28">
            <a:extLst>
              <a:ext uri="{FF2B5EF4-FFF2-40B4-BE49-F238E27FC236}">
                <a16:creationId xmlns:a16="http://schemas.microsoft.com/office/drawing/2014/main" id="{EE052943-05BC-4408-9668-3D70A72B4EF7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5281379" y="3707823"/>
            <a:ext cx="80814" cy="1961879"/>
          </a:xfrm>
          <a:custGeom>
            <a:avLst/>
            <a:gdLst>
              <a:gd name="connsiteX0" fmla="*/ 80814 w 1060276"/>
              <a:gd name="connsiteY0" fmla="*/ 0 h 1961879"/>
              <a:gd name="connsiteX1" fmla="*/ 1060276 w 1060276"/>
              <a:gd name="connsiteY1" fmla="*/ 979462 h 1961879"/>
              <a:gd name="connsiteX2" fmla="*/ 77859 w 1060276"/>
              <a:gd name="connsiteY2" fmla="*/ 1961879 h 1961879"/>
              <a:gd name="connsiteX3" fmla="*/ 64245 w 1060276"/>
              <a:gd name="connsiteY3" fmla="*/ 1945377 h 1961879"/>
              <a:gd name="connsiteX4" fmla="*/ 0 w 1060276"/>
              <a:gd name="connsiteY4" fmla="*/ 1735055 h 1961879"/>
              <a:gd name="connsiteX5" fmla="*/ 0 w 1060276"/>
              <a:gd name="connsiteY5" fmla="*/ 230405 h 1961879"/>
              <a:gd name="connsiteX6" fmla="*/ 64245 w 1060276"/>
              <a:gd name="connsiteY6" fmla="*/ 20083 h 1961879"/>
              <a:gd name="connsiteX0" fmla="*/ 1060276 w 1151716"/>
              <a:gd name="connsiteY0" fmla="*/ 979462 h 1961879"/>
              <a:gd name="connsiteX1" fmla="*/ 77859 w 1151716"/>
              <a:gd name="connsiteY1" fmla="*/ 1961879 h 1961879"/>
              <a:gd name="connsiteX2" fmla="*/ 64245 w 1151716"/>
              <a:gd name="connsiteY2" fmla="*/ 1945377 h 1961879"/>
              <a:gd name="connsiteX3" fmla="*/ 0 w 1151716"/>
              <a:gd name="connsiteY3" fmla="*/ 1735055 h 1961879"/>
              <a:gd name="connsiteX4" fmla="*/ 0 w 1151716"/>
              <a:gd name="connsiteY4" fmla="*/ 230405 h 1961879"/>
              <a:gd name="connsiteX5" fmla="*/ 64245 w 1151716"/>
              <a:gd name="connsiteY5" fmla="*/ 20083 h 1961879"/>
              <a:gd name="connsiteX6" fmla="*/ 80814 w 1151716"/>
              <a:gd name="connsiteY6" fmla="*/ 0 h 1961879"/>
              <a:gd name="connsiteX7" fmla="*/ 1151716 w 1151716"/>
              <a:gd name="connsiteY7" fmla="*/ 1070902 h 1961879"/>
              <a:gd name="connsiteX0" fmla="*/ 77859 w 1151716"/>
              <a:gd name="connsiteY0" fmla="*/ 1961879 h 1961879"/>
              <a:gd name="connsiteX1" fmla="*/ 64245 w 1151716"/>
              <a:gd name="connsiteY1" fmla="*/ 1945377 h 1961879"/>
              <a:gd name="connsiteX2" fmla="*/ 0 w 1151716"/>
              <a:gd name="connsiteY2" fmla="*/ 1735055 h 1961879"/>
              <a:gd name="connsiteX3" fmla="*/ 0 w 1151716"/>
              <a:gd name="connsiteY3" fmla="*/ 230405 h 1961879"/>
              <a:gd name="connsiteX4" fmla="*/ 64245 w 1151716"/>
              <a:gd name="connsiteY4" fmla="*/ 20083 h 1961879"/>
              <a:gd name="connsiteX5" fmla="*/ 80814 w 1151716"/>
              <a:gd name="connsiteY5" fmla="*/ 0 h 1961879"/>
              <a:gd name="connsiteX6" fmla="*/ 1151716 w 1151716"/>
              <a:gd name="connsiteY6" fmla="*/ 1070902 h 1961879"/>
              <a:gd name="connsiteX0" fmla="*/ 77859 w 80814"/>
              <a:gd name="connsiteY0" fmla="*/ 1961879 h 1961879"/>
              <a:gd name="connsiteX1" fmla="*/ 64245 w 80814"/>
              <a:gd name="connsiteY1" fmla="*/ 1945377 h 1961879"/>
              <a:gd name="connsiteX2" fmla="*/ 0 w 80814"/>
              <a:gd name="connsiteY2" fmla="*/ 1735055 h 1961879"/>
              <a:gd name="connsiteX3" fmla="*/ 0 w 80814"/>
              <a:gd name="connsiteY3" fmla="*/ 230405 h 1961879"/>
              <a:gd name="connsiteX4" fmla="*/ 64245 w 80814"/>
              <a:gd name="connsiteY4" fmla="*/ 20083 h 1961879"/>
              <a:gd name="connsiteX5" fmla="*/ 80814 w 80814"/>
              <a:gd name="connsiteY5" fmla="*/ 0 h 196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814" h="1961879">
                <a:moveTo>
                  <a:pt x="77859" y="1961879"/>
                </a:moveTo>
                <a:lnTo>
                  <a:pt x="64245" y="1945377"/>
                </a:lnTo>
                <a:cubicBezTo>
                  <a:pt x="23684" y="1885340"/>
                  <a:pt x="0" y="1812964"/>
                  <a:pt x="0" y="1735055"/>
                </a:cubicBezTo>
                <a:lnTo>
                  <a:pt x="0" y="230405"/>
                </a:lnTo>
                <a:cubicBezTo>
                  <a:pt x="0" y="152497"/>
                  <a:pt x="23684" y="80120"/>
                  <a:pt x="64245" y="20083"/>
                </a:cubicBezTo>
                <a:lnTo>
                  <a:pt x="80814" y="0"/>
                </a:lnTo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 30">
            <a:extLst>
              <a:ext uri="{FF2B5EF4-FFF2-40B4-BE49-F238E27FC236}">
                <a16:creationId xmlns:a16="http://schemas.microsoft.com/office/drawing/2014/main" id="{5A032A09-67A8-4E51-82B8-6101FBF08EB2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5882174" y="4648357"/>
            <a:ext cx="1961878" cy="80814"/>
          </a:xfrm>
          <a:custGeom>
            <a:avLst/>
            <a:gdLst>
              <a:gd name="connsiteX0" fmla="*/ 982417 w 1961878"/>
              <a:gd name="connsiteY0" fmla="*/ 0 h 1060275"/>
              <a:gd name="connsiteX1" fmla="*/ 1961878 w 1961878"/>
              <a:gd name="connsiteY1" fmla="*/ 979461 h 1060275"/>
              <a:gd name="connsiteX2" fmla="*/ 1941795 w 1961878"/>
              <a:gd name="connsiteY2" fmla="*/ 996031 h 1060275"/>
              <a:gd name="connsiteX3" fmla="*/ 1731473 w 1961878"/>
              <a:gd name="connsiteY3" fmla="*/ 1060275 h 1060275"/>
              <a:gd name="connsiteX4" fmla="*/ 226823 w 1961878"/>
              <a:gd name="connsiteY4" fmla="*/ 1060275 h 1060275"/>
              <a:gd name="connsiteX5" fmla="*/ 16501 w 1961878"/>
              <a:gd name="connsiteY5" fmla="*/ 996031 h 1060275"/>
              <a:gd name="connsiteX6" fmla="*/ 0 w 1961878"/>
              <a:gd name="connsiteY6" fmla="*/ 982417 h 1060275"/>
              <a:gd name="connsiteX0" fmla="*/ 982417 w 1961878"/>
              <a:gd name="connsiteY0" fmla="*/ 0 h 1060275"/>
              <a:gd name="connsiteX1" fmla="*/ 1961878 w 1961878"/>
              <a:gd name="connsiteY1" fmla="*/ 979461 h 1060275"/>
              <a:gd name="connsiteX2" fmla="*/ 1941795 w 1961878"/>
              <a:gd name="connsiteY2" fmla="*/ 996031 h 1060275"/>
              <a:gd name="connsiteX3" fmla="*/ 1731473 w 1961878"/>
              <a:gd name="connsiteY3" fmla="*/ 1060275 h 1060275"/>
              <a:gd name="connsiteX4" fmla="*/ 226823 w 1961878"/>
              <a:gd name="connsiteY4" fmla="*/ 1060275 h 1060275"/>
              <a:gd name="connsiteX5" fmla="*/ 16501 w 1961878"/>
              <a:gd name="connsiteY5" fmla="*/ 996031 h 1060275"/>
              <a:gd name="connsiteX6" fmla="*/ 0 w 1961878"/>
              <a:gd name="connsiteY6" fmla="*/ 982417 h 1060275"/>
              <a:gd name="connsiteX7" fmla="*/ 1073857 w 1961878"/>
              <a:gd name="connsiteY7" fmla="*/ 91440 h 1060275"/>
              <a:gd name="connsiteX0" fmla="*/ 1961878 w 1961878"/>
              <a:gd name="connsiteY0" fmla="*/ 888021 h 968835"/>
              <a:gd name="connsiteX1" fmla="*/ 1941795 w 1961878"/>
              <a:gd name="connsiteY1" fmla="*/ 904591 h 968835"/>
              <a:gd name="connsiteX2" fmla="*/ 1731473 w 1961878"/>
              <a:gd name="connsiteY2" fmla="*/ 968835 h 968835"/>
              <a:gd name="connsiteX3" fmla="*/ 226823 w 1961878"/>
              <a:gd name="connsiteY3" fmla="*/ 968835 h 968835"/>
              <a:gd name="connsiteX4" fmla="*/ 16501 w 1961878"/>
              <a:gd name="connsiteY4" fmla="*/ 904591 h 968835"/>
              <a:gd name="connsiteX5" fmla="*/ 0 w 1961878"/>
              <a:gd name="connsiteY5" fmla="*/ 890977 h 968835"/>
              <a:gd name="connsiteX6" fmla="*/ 1073857 w 1961878"/>
              <a:gd name="connsiteY6" fmla="*/ 0 h 968835"/>
              <a:gd name="connsiteX0" fmla="*/ 1961878 w 1961878"/>
              <a:gd name="connsiteY0" fmla="*/ 0 h 80814"/>
              <a:gd name="connsiteX1" fmla="*/ 1941795 w 1961878"/>
              <a:gd name="connsiteY1" fmla="*/ 16570 h 80814"/>
              <a:gd name="connsiteX2" fmla="*/ 1731473 w 1961878"/>
              <a:gd name="connsiteY2" fmla="*/ 80814 h 80814"/>
              <a:gd name="connsiteX3" fmla="*/ 226823 w 1961878"/>
              <a:gd name="connsiteY3" fmla="*/ 80814 h 80814"/>
              <a:gd name="connsiteX4" fmla="*/ 16501 w 1961878"/>
              <a:gd name="connsiteY4" fmla="*/ 16570 h 80814"/>
              <a:gd name="connsiteX5" fmla="*/ 0 w 1961878"/>
              <a:gd name="connsiteY5" fmla="*/ 2956 h 80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1878" h="80814">
                <a:moveTo>
                  <a:pt x="1961878" y="0"/>
                </a:moveTo>
                <a:lnTo>
                  <a:pt x="1941795" y="16570"/>
                </a:lnTo>
                <a:cubicBezTo>
                  <a:pt x="1881758" y="57131"/>
                  <a:pt x="1809381" y="80814"/>
                  <a:pt x="1731473" y="80814"/>
                </a:cubicBezTo>
                <a:lnTo>
                  <a:pt x="226823" y="80814"/>
                </a:lnTo>
                <a:cubicBezTo>
                  <a:pt x="148915" y="80814"/>
                  <a:pt x="76539" y="57130"/>
                  <a:pt x="16501" y="16570"/>
                </a:cubicBezTo>
                <a:lnTo>
                  <a:pt x="0" y="2956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Freeform 32">
            <a:extLst>
              <a:ext uri="{FF2B5EF4-FFF2-40B4-BE49-F238E27FC236}">
                <a16:creationId xmlns:a16="http://schemas.microsoft.com/office/drawing/2014/main" id="{BC94C936-AB5F-4BFD-97FD-13CB694666C7}"/>
              </a:ext>
            </a:extLst>
          </p:cNvPr>
          <p:cNvSpPr>
            <a:spLocks noChangeAspect="1"/>
          </p:cNvSpPr>
          <p:nvPr userDrawn="1"/>
        </p:nvSpPr>
        <p:spPr>
          <a:xfrm rot="18900000">
            <a:off x="6822706" y="2171562"/>
            <a:ext cx="80814" cy="1961879"/>
          </a:xfrm>
          <a:custGeom>
            <a:avLst/>
            <a:gdLst>
              <a:gd name="connsiteX0" fmla="*/ 982417 w 1060276"/>
              <a:gd name="connsiteY0" fmla="*/ 0 h 1961879"/>
              <a:gd name="connsiteX1" fmla="*/ 996031 w 1060276"/>
              <a:gd name="connsiteY1" fmla="*/ 16501 h 1961879"/>
              <a:gd name="connsiteX2" fmla="*/ 1060276 w 1060276"/>
              <a:gd name="connsiteY2" fmla="*/ 226823 h 1961879"/>
              <a:gd name="connsiteX3" fmla="*/ 1060276 w 1060276"/>
              <a:gd name="connsiteY3" fmla="*/ 1731473 h 1961879"/>
              <a:gd name="connsiteX4" fmla="*/ 996032 w 1060276"/>
              <a:gd name="connsiteY4" fmla="*/ 1941795 h 1961879"/>
              <a:gd name="connsiteX5" fmla="*/ 979462 w 1060276"/>
              <a:gd name="connsiteY5" fmla="*/ 1961879 h 1961879"/>
              <a:gd name="connsiteX6" fmla="*/ 0 w 1060276"/>
              <a:gd name="connsiteY6" fmla="*/ 982418 h 1961879"/>
              <a:gd name="connsiteX0" fmla="*/ 0 w 1060276"/>
              <a:gd name="connsiteY0" fmla="*/ 982418 h 1961879"/>
              <a:gd name="connsiteX1" fmla="*/ 982417 w 1060276"/>
              <a:gd name="connsiteY1" fmla="*/ 0 h 1961879"/>
              <a:gd name="connsiteX2" fmla="*/ 996031 w 1060276"/>
              <a:gd name="connsiteY2" fmla="*/ 16501 h 1961879"/>
              <a:gd name="connsiteX3" fmla="*/ 1060276 w 1060276"/>
              <a:gd name="connsiteY3" fmla="*/ 226823 h 1961879"/>
              <a:gd name="connsiteX4" fmla="*/ 1060276 w 1060276"/>
              <a:gd name="connsiteY4" fmla="*/ 1731473 h 1961879"/>
              <a:gd name="connsiteX5" fmla="*/ 996032 w 1060276"/>
              <a:gd name="connsiteY5" fmla="*/ 1941795 h 1961879"/>
              <a:gd name="connsiteX6" fmla="*/ 979462 w 1060276"/>
              <a:gd name="connsiteY6" fmla="*/ 1961879 h 1961879"/>
              <a:gd name="connsiteX7" fmla="*/ 91440 w 1060276"/>
              <a:gd name="connsiteY7" fmla="*/ 1073858 h 1961879"/>
              <a:gd name="connsiteX0" fmla="*/ 890977 w 968836"/>
              <a:gd name="connsiteY0" fmla="*/ 0 h 1961879"/>
              <a:gd name="connsiteX1" fmla="*/ 904591 w 968836"/>
              <a:gd name="connsiteY1" fmla="*/ 16501 h 1961879"/>
              <a:gd name="connsiteX2" fmla="*/ 968836 w 968836"/>
              <a:gd name="connsiteY2" fmla="*/ 226823 h 1961879"/>
              <a:gd name="connsiteX3" fmla="*/ 968836 w 968836"/>
              <a:gd name="connsiteY3" fmla="*/ 1731473 h 1961879"/>
              <a:gd name="connsiteX4" fmla="*/ 904592 w 968836"/>
              <a:gd name="connsiteY4" fmla="*/ 1941795 h 1961879"/>
              <a:gd name="connsiteX5" fmla="*/ 888022 w 968836"/>
              <a:gd name="connsiteY5" fmla="*/ 1961879 h 1961879"/>
              <a:gd name="connsiteX6" fmla="*/ 0 w 968836"/>
              <a:gd name="connsiteY6" fmla="*/ 1073858 h 1961879"/>
              <a:gd name="connsiteX0" fmla="*/ 2955 w 80814"/>
              <a:gd name="connsiteY0" fmla="*/ 0 h 1961879"/>
              <a:gd name="connsiteX1" fmla="*/ 16569 w 80814"/>
              <a:gd name="connsiteY1" fmla="*/ 16501 h 1961879"/>
              <a:gd name="connsiteX2" fmla="*/ 80814 w 80814"/>
              <a:gd name="connsiteY2" fmla="*/ 226823 h 1961879"/>
              <a:gd name="connsiteX3" fmla="*/ 80814 w 80814"/>
              <a:gd name="connsiteY3" fmla="*/ 1731473 h 1961879"/>
              <a:gd name="connsiteX4" fmla="*/ 16570 w 80814"/>
              <a:gd name="connsiteY4" fmla="*/ 1941795 h 1961879"/>
              <a:gd name="connsiteX5" fmla="*/ 0 w 80814"/>
              <a:gd name="connsiteY5" fmla="*/ 1961879 h 196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814" h="1961879">
                <a:moveTo>
                  <a:pt x="2955" y="0"/>
                </a:moveTo>
                <a:lnTo>
                  <a:pt x="16569" y="16501"/>
                </a:lnTo>
                <a:cubicBezTo>
                  <a:pt x="57130" y="76539"/>
                  <a:pt x="80814" y="148915"/>
                  <a:pt x="80814" y="226823"/>
                </a:cubicBezTo>
                <a:lnTo>
                  <a:pt x="80814" y="1731473"/>
                </a:lnTo>
                <a:cubicBezTo>
                  <a:pt x="80814" y="1809381"/>
                  <a:pt x="57131" y="1881758"/>
                  <a:pt x="16570" y="1941795"/>
                </a:cubicBezTo>
                <a:lnTo>
                  <a:pt x="0" y="1961879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ijdelijke aanduiding voor tekst 11">
            <a:extLst>
              <a:ext uri="{FF2B5EF4-FFF2-40B4-BE49-F238E27FC236}">
                <a16:creationId xmlns:a16="http://schemas.microsoft.com/office/drawing/2014/main" id="{237F6B36-262D-4304-8620-95CE914E91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00176" y="4080633"/>
            <a:ext cx="3631462" cy="1866900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30" name="Tijdelijke aanduiding voor tekst 11">
            <a:extLst>
              <a:ext uri="{FF2B5EF4-FFF2-40B4-BE49-F238E27FC236}">
                <a16:creationId xmlns:a16="http://schemas.microsoft.com/office/drawing/2014/main" id="{9B3353CF-18B6-4732-9FC2-7BCABCA2AF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75790" y="1962150"/>
            <a:ext cx="3216036" cy="1866900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31" name="Tijdelijke aanduiding voor tekst 11">
            <a:extLst>
              <a:ext uri="{FF2B5EF4-FFF2-40B4-BE49-F238E27FC236}">
                <a16:creationId xmlns:a16="http://schemas.microsoft.com/office/drawing/2014/main" id="{29191A71-D738-4511-9190-DA2629706D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75790" y="4080633"/>
            <a:ext cx="3216036" cy="1866900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18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ACADCD3-098C-45DE-9F13-7A32B841EC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3525" y="3429000"/>
            <a:ext cx="646113" cy="292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32" name="Tijdelijke aanduiding voor tekst 4">
            <a:extLst>
              <a:ext uri="{FF2B5EF4-FFF2-40B4-BE49-F238E27FC236}">
                <a16:creationId xmlns:a16="http://schemas.microsoft.com/office/drawing/2014/main" id="{95FB77A0-6438-4527-9242-A03F3A0D6F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28810" y="3429000"/>
            <a:ext cx="646113" cy="292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33" name="Tijdelijke aanduiding voor tekst 4">
            <a:extLst>
              <a:ext uri="{FF2B5EF4-FFF2-40B4-BE49-F238E27FC236}">
                <a16:creationId xmlns:a16="http://schemas.microsoft.com/office/drawing/2014/main" id="{C23C21B9-452B-47AF-972C-70148CCA2C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43525" y="4039456"/>
            <a:ext cx="646113" cy="292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34" name="Tijdelijke aanduiding voor tekst 4">
            <a:extLst>
              <a:ext uri="{FF2B5EF4-FFF2-40B4-BE49-F238E27FC236}">
                <a16:creationId xmlns:a16="http://schemas.microsoft.com/office/drawing/2014/main" id="{F0DD2AEF-768F-4569-A000-6F18A6682A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28810" y="4039456"/>
            <a:ext cx="646113" cy="292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5303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orient="horz" pos="32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7B375A55-05DF-4620-927B-CEFAB4E05C4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1113" y="-11113"/>
            <a:ext cx="7049592" cy="6869113"/>
          </a:xfrm>
          <a:custGeom>
            <a:avLst/>
            <a:gdLst>
              <a:gd name="connsiteX0" fmla="*/ 0 w 7049592"/>
              <a:gd name="connsiteY0" fmla="*/ 0 h 6869113"/>
              <a:gd name="connsiteX1" fmla="*/ 7049592 w 7049592"/>
              <a:gd name="connsiteY1" fmla="*/ 0 h 6869113"/>
              <a:gd name="connsiteX2" fmla="*/ 6961918 w 7049592"/>
              <a:gd name="connsiteY2" fmla="*/ 304793 h 6869113"/>
              <a:gd name="connsiteX3" fmla="*/ 4716550 w 7049592"/>
              <a:gd name="connsiteY3" fmla="*/ 6869113 h 6869113"/>
              <a:gd name="connsiteX4" fmla="*/ 0 w 7049592"/>
              <a:gd name="connsiteY4" fmla="*/ 6869113 h 686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9592" h="6869113">
                <a:moveTo>
                  <a:pt x="0" y="0"/>
                </a:moveTo>
                <a:lnTo>
                  <a:pt x="7049592" y="0"/>
                </a:lnTo>
                <a:lnTo>
                  <a:pt x="6961918" y="304793"/>
                </a:lnTo>
                <a:lnTo>
                  <a:pt x="4716550" y="6869113"/>
                </a:lnTo>
                <a:lnTo>
                  <a:pt x="0" y="6869113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None/>
              <a:defRPr lang="nl-NL" sz="1600"/>
            </a:lvl1pPr>
          </a:lstStyle>
          <a:p>
            <a:pPr marL="228600" lvl="0" indent="-228600" algn="ctr"/>
            <a:r>
              <a:rPr lang="en-US" noProof="0" dirty="0"/>
              <a:t>Click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9454" y="1980017"/>
            <a:ext cx="4862858" cy="2905494"/>
          </a:xfrm>
          <a:prstGeom prst="rect">
            <a:avLst/>
          </a:prstGeom>
        </p:spPr>
        <p:txBody>
          <a:bodyPr lIns="0" tIns="0" rIns="0" bIns="72000" anchor="ctr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FEC5561-0D1D-48CD-9857-C6F2175A0034}"/>
              </a:ext>
            </a:extLst>
          </p:cNvPr>
          <p:cNvGrpSpPr/>
          <p:nvPr userDrawn="1"/>
        </p:nvGrpSpPr>
        <p:grpSpPr>
          <a:xfrm>
            <a:off x="10422255" y="6286500"/>
            <a:ext cx="693334" cy="249834"/>
            <a:chOff x="3078163" y="2341563"/>
            <a:chExt cx="6035676" cy="217487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2CF1C0AB-2340-43C1-BA25-042D125744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F98D281-DE49-4E93-B406-2BD8838AE4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96BF50F2-0F4D-4E09-91A9-7168DF2C52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73F4D8E-E8EB-44B1-9D1B-50EB8D93F6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2997CEF5-AF3F-4824-B002-420B2ABD90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7D747C3B-8656-4D8A-B48E-243D5FF3D4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DF60A912-7DDF-4D79-85CA-DF822EEA99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4" name="Rechthoek 13">
            <a:extLst>
              <a:ext uri="{FF2B5EF4-FFF2-40B4-BE49-F238E27FC236}">
                <a16:creationId xmlns:a16="http://schemas.microsoft.com/office/drawing/2014/main" id="{C5203CEB-4AE2-470B-9D88-1FC55D2A891A}"/>
              </a:ext>
            </a:extLst>
          </p:cNvPr>
          <p:cNvSpPr/>
          <p:nvPr userDrawn="1"/>
        </p:nvSpPr>
        <p:spPr>
          <a:xfrm>
            <a:off x="11330202" y="6259335"/>
            <a:ext cx="861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en-US" sz="1200" b="0" noProof="0" smtClean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5EA75EB1-61A0-4441-894D-6C34DF8EEFE1}"/>
              </a:ext>
            </a:extLst>
          </p:cNvPr>
          <p:cNvSpPr/>
          <p:nvPr userDrawn="1"/>
        </p:nvSpPr>
        <p:spPr>
          <a:xfrm>
            <a:off x="11212945" y="3995738"/>
            <a:ext cx="979055" cy="2862262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759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  <p15:guide id="2" pos="3908">
          <p15:clr>
            <a:srgbClr val="FBAE40"/>
          </p15:clr>
        </p15:guide>
        <p15:guide id="3" pos="2593">
          <p15:clr>
            <a:srgbClr val="FBAE40"/>
          </p15:clr>
        </p15:guide>
        <p15:guide id="4" orient="horz" pos="406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72B591FD-0FC9-4B7C-BAEA-51AD04D0CA7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14448" y="-21971"/>
            <a:ext cx="6087079" cy="6885758"/>
          </a:xfrm>
          <a:custGeom>
            <a:avLst/>
            <a:gdLst>
              <a:gd name="connsiteX0" fmla="*/ 4561470 w 6087079"/>
              <a:gd name="connsiteY0" fmla="*/ 6511621 h 6885758"/>
              <a:gd name="connsiteX1" fmla="*/ 4566576 w 6087079"/>
              <a:gd name="connsiteY1" fmla="*/ 6524933 h 6885758"/>
              <a:gd name="connsiteX2" fmla="*/ 4921085 w 6087079"/>
              <a:gd name="connsiteY2" fmla="*/ 6524933 h 6885758"/>
              <a:gd name="connsiteX3" fmla="*/ 4921085 w 6087079"/>
              <a:gd name="connsiteY3" fmla="*/ 6511621 h 6885758"/>
              <a:gd name="connsiteX4" fmla="*/ 4493268 w 6087079"/>
              <a:gd name="connsiteY4" fmla="*/ 6378133 h 6885758"/>
              <a:gd name="connsiteX5" fmla="*/ 4474667 w 6087079"/>
              <a:gd name="connsiteY5" fmla="*/ 6436671 h 6885758"/>
              <a:gd name="connsiteX6" fmla="*/ 4512416 w 6087079"/>
              <a:gd name="connsiteY6" fmla="*/ 6437400 h 6885758"/>
              <a:gd name="connsiteX7" fmla="*/ 4818781 w 6087079"/>
              <a:gd name="connsiteY7" fmla="*/ 6365550 h 6885758"/>
              <a:gd name="connsiteX8" fmla="*/ 4827716 w 6087079"/>
              <a:gd name="connsiteY8" fmla="*/ 6367009 h 6885758"/>
              <a:gd name="connsiteX9" fmla="*/ 4835740 w 6087079"/>
              <a:gd name="connsiteY9" fmla="*/ 6369927 h 6885758"/>
              <a:gd name="connsiteX10" fmla="*/ 4841758 w 6087079"/>
              <a:gd name="connsiteY10" fmla="*/ 6374486 h 6885758"/>
              <a:gd name="connsiteX11" fmla="*/ 4847594 w 6087079"/>
              <a:gd name="connsiteY11" fmla="*/ 6380322 h 6885758"/>
              <a:gd name="connsiteX12" fmla="*/ 4852153 w 6087079"/>
              <a:gd name="connsiteY12" fmla="*/ 6387798 h 6885758"/>
              <a:gd name="connsiteX13" fmla="*/ 4855070 w 6087079"/>
              <a:gd name="connsiteY13" fmla="*/ 6395275 h 6885758"/>
              <a:gd name="connsiteX14" fmla="*/ 4856529 w 6087079"/>
              <a:gd name="connsiteY14" fmla="*/ 6404028 h 6885758"/>
              <a:gd name="connsiteX15" fmla="*/ 4857259 w 6087079"/>
              <a:gd name="connsiteY15" fmla="*/ 6412964 h 6885758"/>
              <a:gd name="connsiteX16" fmla="*/ 4856529 w 6087079"/>
              <a:gd name="connsiteY16" fmla="*/ 6421900 h 6885758"/>
              <a:gd name="connsiteX17" fmla="*/ 4855070 w 6087079"/>
              <a:gd name="connsiteY17" fmla="*/ 6430106 h 6885758"/>
              <a:gd name="connsiteX18" fmla="*/ 4852153 w 6087079"/>
              <a:gd name="connsiteY18" fmla="*/ 6437401 h 6885758"/>
              <a:gd name="connsiteX19" fmla="*/ 4847594 w 6087079"/>
              <a:gd name="connsiteY19" fmla="*/ 6444148 h 6885758"/>
              <a:gd name="connsiteX20" fmla="*/ 4842487 w 6087079"/>
              <a:gd name="connsiteY20" fmla="*/ 6450166 h 6885758"/>
              <a:gd name="connsiteX21" fmla="*/ 4835740 w 6087079"/>
              <a:gd name="connsiteY21" fmla="*/ 6454543 h 6885758"/>
              <a:gd name="connsiteX22" fmla="*/ 4827716 w 6087079"/>
              <a:gd name="connsiteY22" fmla="*/ 6457460 h 6885758"/>
              <a:gd name="connsiteX23" fmla="*/ 4818781 w 6087079"/>
              <a:gd name="connsiteY23" fmla="*/ 6458190 h 6885758"/>
              <a:gd name="connsiteX24" fmla="*/ 4814951 w 6087079"/>
              <a:gd name="connsiteY24" fmla="*/ 6458190 h 6885758"/>
              <a:gd name="connsiteX25" fmla="*/ 4812033 w 6087079"/>
              <a:gd name="connsiteY25" fmla="*/ 6457460 h 6885758"/>
              <a:gd name="connsiteX26" fmla="*/ 4809115 w 6087079"/>
              <a:gd name="connsiteY26" fmla="*/ 6456731 h 6885758"/>
              <a:gd name="connsiteX27" fmla="*/ 4806198 w 6087079"/>
              <a:gd name="connsiteY27" fmla="*/ 6456001 h 6885758"/>
              <a:gd name="connsiteX28" fmla="*/ 4803097 w 6087079"/>
              <a:gd name="connsiteY28" fmla="*/ 6454543 h 6885758"/>
              <a:gd name="connsiteX29" fmla="*/ 4800180 w 6087079"/>
              <a:gd name="connsiteY29" fmla="*/ 6452354 h 6885758"/>
              <a:gd name="connsiteX30" fmla="*/ 4797991 w 6087079"/>
              <a:gd name="connsiteY30" fmla="*/ 6450895 h 6885758"/>
              <a:gd name="connsiteX31" fmla="*/ 4795074 w 6087079"/>
              <a:gd name="connsiteY31" fmla="*/ 6448525 h 6885758"/>
              <a:gd name="connsiteX32" fmla="*/ 4791973 w 6087079"/>
              <a:gd name="connsiteY32" fmla="*/ 6445607 h 6885758"/>
              <a:gd name="connsiteX33" fmla="*/ 4789785 w 6087079"/>
              <a:gd name="connsiteY33" fmla="*/ 6441230 h 6885758"/>
              <a:gd name="connsiteX34" fmla="*/ 4787597 w 6087079"/>
              <a:gd name="connsiteY34" fmla="*/ 6437401 h 6885758"/>
              <a:gd name="connsiteX35" fmla="*/ 4786138 w 6087079"/>
              <a:gd name="connsiteY35" fmla="*/ 6433024 h 6885758"/>
              <a:gd name="connsiteX36" fmla="*/ 4784679 w 6087079"/>
              <a:gd name="connsiteY36" fmla="*/ 6428647 h 6885758"/>
              <a:gd name="connsiteX37" fmla="*/ 4783220 w 6087079"/>
              <a:gd name="connsiteY37" fmla="*/ 6424088 h 6885758"/>
              <a:gd name="connsiteX38" fmla="*/ 4783220 w 6087079"/>
              <a:gd name="connsiteY38" fmla="*/ 6418982 h 6885758"/>
              <a:gd name="connsiteX39" fmla="*/ 4782308 w 6087079"/>
              <a:gd name="connsiteY39" fmla="*/ 6413694 h 6885758"/>
              <a:gd name="connsiteX40" fmla="*/ 4783220 w 6087079"/>
              <a:gd name="connsiteY40" fmla="*/ 6404940 h 6885758"/>
              <a:gd name="connsiteX41" fmla="*/ 4784679 w 6087079"/>
              <a:gd name="connsiteY41" fmla="*/ 6396734 h 6885758"/>
              <a:gd name="connsiteX42" fmla="*/ 4786867 w 6087079"/>
              <a:gd name="connsiteY42" fmla="*/ 6388528 h 6885758"/>
              <a:gd name="connsiteX43" fmla="*/ 4790515 w 6087079"/>
              <a:gd name="connsiteY43" fmla="*/ 6381051 h 6885758"/>
              <a:gd name="connsiteX44" fmla="*/ 4795803 w 6087079"/>
              <a:gd name="connsiteY44" fmla="*/ 6374486 h 6885758"/>
              <a:gd name="connsiteX45" fmla="*/ 4802368 w 6087079"/>
              <a:gd name="connsiteY45" fmla="*/ 6369927 h 6885758"/>
              <a:gd name="connsiteX46" fmla="*/ 4809845 w 6087079"/>
              <a:gd name="connsiteY46" fmla="*/ 6367009 h 6885758"/>
              <a:gd name="connsiteX47" fmla="*/ 4898107 w 6087079"/>
              <a:gd name="connsiteY47" fmla="*/ 6347861 h 6885758"/>
              <a:gd name="connsiteX48" fmla="*/ 4898107 w 6087079"/>
              <a:gd name="connsiteY48" fmla="*/ 6478249 h 6885758"/>
              <a:gd name="connsiteX49" fmla="*/ 4921814 w 6087079"/>
              <a:gd name="connsiteY49" fmla="*/ 6478249 h 6885758"/>
              <a:gd name="connsiteX50" fmla="*/ 4921814 w 6087079"/>
              <a:gd name="connsiteY50" fmla="*/ 6389987 h 6885758"/>
              <a:gd name="connsiteX51" fmla="*/ 4977434 w 6087079"/>
              <a:gd name="connsiteY51" fmla="*/ 6478249 h 6885758"/>
              <a:gd name="connsiteX52" fmla="*/ 5001141 w 6087079"/>
              <a:gd name="connsiteY52" fmla="*/ 6478249 h 6885758"/>
              <a:gd name="connsiteX53" fmla="*/ 5001141 w 6087079"/>
              <a:gd name="connsiteY53" fmla="*/ 6347861 h 6885758"/>
              <a:gd name="connsiteX54" fmla="*/ 4977434 w 6087079"/>
              <a:gd name="connsiteY54" fmla="*/ 6347861 h 6885758"/>
              <a:gd name="connsiteX55" fmla="*/ 4977434 w 6087079"/>
              <a:gd name="connsiteY55" fmla="*/ 6434483 h 6885758"/>
              <a:gd name="connsiteX56" fmla="*/ 4921814 w 6087079"/>
              <a:gd name="connsiteY56" fmla="*/ 6347861 h 6885758"/>
              <a:gd name="connsiteX57" fmla="*/ 4528828 w 6087079"/>
              <a:gd name="connsiteY57" fmla="*/ 6347861 h 6885758"/>
              <a:gd name="connsiteX58" fmla="*/ 4528828 w 6087079"/>
              <a:gd name="connsiteY58" fmla="*/ 6408587 h 6885758"/>
              <a:gd name="connsiteX59" fmla="*/ 4551805 w 6087079"/>
              <a:gd name="connsiteY59" fmla="*/ 6478978 h 6885758"/>
              <a:gd name="connsiteX60" fmla="*/ 4625114 w 6087079"/>
              <a:gd name="connsiteY60" fmla="*/ 6478978 h 6885758"/>
              <a:gd name="connsiteX61" fmla="*/ 4625114 w 6087079"/>
              <a:gd name="connsiteY61" fmla="*/ 6456001 h 6885758"/>
              <a:gd name="connsiteX62" fmla="*/ 4551805 w 6087079"/>
              <a:gd name="connsiteY62" fmla="*/ 6456001 h 6885758"/>
              <a:gd name="connsiteX63" fmla="*/ 4551805 w 6087079"/>
              <a:gd name="connsiteY63" fmla="*/ 6419711 h 6885758"/>
              <a:gd name="connsiteX64" fmla="*/ 4603596 w 6087079"/>
              <a:gd name="connsiteY64" fmla="*/ 6419711 h 6885758"/>
              <a:gd name="connsiteX65" fmla="*/ 4603596 w 6087079"/>
              <a:gd name="connsiteY65" fmla="*/ 6397463 h 6885758"/>
              <a:gd name="connsiteX66" fmla="*/ 4551805 w 6087079"/>
              <a:gd name="connsiteY66" fmla="*/ 6397463 h 6885758"/>
              <a:gd name="connsiteX67" fmla="*/ 4551805 w 6087079"/>
              <a:gd name="connsiteY67" fmla="*/ 6369197 h 6885758"/>
              <a:gd name="connsiteX68" fmla="*/ 4620737 w 6087079"/>
              <a:gd name="connsiteY68" fmla="*/ 6369197 h 6885758"/>
              <a:gd name="connsiteX69" fmla="*/ 4620737 w 6087079"/>
              <a:gd name="connsiteY69" fmla="*/ 6347861 h 6885758"/>
              <a:gd name="connsiteX70" fmla="*/ 4688210 w 6087079"/>
              <a:gd name="connsiteY70" fmla="*/ 6344031 h 6885758"/>
              <a:gd name="connsiteX71" fmla="*/ 4677086 w 6087079"/>
              <a:gd name="connsiteY71" fmla="*/ 6345490 h 6885758"/>
              <a:gd name="connsiteX72" fmla="*/ 4666692 w 6087079"/>
              <a:gd name="connsiteY72" fmla="*/ 6348590 h 6885758"/>
              <a:gd name="connsiteX73" fmla="*/ 4656297 w 6087079"/>
              <a:gd name="connsiteY73" fmla="*/ 6353696 h 6885758"/>
              <a:gd name="connsiteX74" fmla="*/ 4646632 w 6087079"/>
              <a:gd name="connsiteY74" fmla="*/ 6360444 h 6885758"/>
              <a:gd name="connsiteX75" fmla="*/ 4638608 w 6087079"/>
              <a:gd name="connsiteY75" fmla="*/ 6370838 h 6885758"/>
              <a:gd name="connsiteX76" fmla="*/ 4631861 w 6087079"/>
              <a:gd name="connsiteY76" fmla="*/ 6382692 h 6885758"/>
              <a:gd name="connsiteX77" fmla="*/ 4628214 w 6087079"/>
              <a:gd name="connsiteY77" fmla="*/ 6397463 h 6885758"/>
              <a:gd name="connsiteX78" fmla="*/ 4626755 w 6087079"/>
              <a:gd name="connsiteY78" fmla="*/ 6414423 h 6885758"/>
              <a:gd name="connsiteX79" fmla="*/ 4628214 w 6087079"/>
              <a:gd name="connsiteY79" fmla="*/ 6431565 h 6885758"/>
              <a:gd name="connsiteX80" fmla="*/ 4632591 w 6087079"/>
              <a:gd name="connsiteY80" fmla="*/ 6446336 h 6885758"/>
              <a:gd name="connsiteX81" fmla="*/ 4639338 w 6087079"/>
              <a:gd name="connsiteY81" fmla="*/ 6457460 h 6885758"/>
              <a:gd name="connsiteX82" fmla="*/ 4647362 w 6087079"/>
              <a:gd name="connsiteY82" fmla="*/ 6467125 h 6885758"/>
              <a:gd name="connsiteX83" fmla="*/ 4657027 w 6087079"/>
              <a:gd name="connsiteY83" fmla="*/ 6473872 h 6885758"/>
              <a:gd name="connsiteX84" fmla="*/ 4666692 w 6087079"/>
              <a:gd name="connsiteY84" fmla="*/ 6478249 h 6885758"/>
              <a:gd name="connsiteX85" fmla="*/ 4677816 w 6087079"/>
              <a:gd name="connsiteY85" fmla="*/ 6481167 h 6885758"/>
              <a:gd name="connsiteX86" fmla="*/ 4688210 w 6087079"/>
              <a:gd name="connsiteY86" fmla="*/ 6481896 h 6885758"/>
              <a:gd name="connsiteX87" fmla="*/ 4697146 w 6087079"/>
              <a:gd name="connsiteY87" fmla="*/ 6481167 h 6885758"/>
              <a:gd name="connsiteX88" fmla="*/ 4704623 w 6087079"/>
              <a:gd name="connsiteY88" fmla="*/ 6479708 h 6885758"/>
              <a:gd name="connsiteX89" fmla="*/ 4710458 w 6087079"/>
              <a:gd name="connsiteY89" fmla="*/ 6477520 h 6885758"/>
              <a:gd name="connsiteX90" fmla="*/ 4714835 w 6087079"/>
              <a:gd name="connsiteY90" fmla="*/ 6474602 h 6885758"/>
              <a:gd name="connsiteX91" fmla="*/ 4717935 w 6087079"/>
              <a:gd name="connsiteY91" fmla="*/ 6471502 h 6885758"/>
              <a:gd name="connsiteX92" fmla="*/ 4720853 w 6087079"/>
              <a:gd name="connsiteY92" fmla="*/ 6469313 h 6885758"/>
              <a:gd name="connsiteX93" fmla="*/ 4721582 w 6087079"/>
              <a:gd name="connsiteY93" fmla="*/ 6467854 h 6885758"/>
              <a:gd name="connsiteX94" fmla="*/ 4721582 w 6087079"/>
              <a:gd name="connsiteY94" fmla="*/ 6478978 h 6885758"/>
              <a:gd name="connsiteX95" fmla="*/ 4742371 w 6087079"/>
              <a:gd name="connsiteY95" fmla="*/ 6478978 h 6885758"/>
              <a:gd name="connsiteX96" fmla="*/ 4742371 w 6087079"/>
              <a:gd name="connsiteY96" fmla="*/ 6407128 h 6885758"/>
              <a:gd name="connsiteX97" fmla="*/ 4688940 w 6087079"/>
              <a:gd name="connsiteY97" fmla="*/ 6407128 h 6885758"/>
              <a:gd name="connsiteX98" fmla="*/ 4688940 w 6087079"/>
              <a:gd name="connsiteY98" fmla="*/ 6429376 h 6885758"/>
              <a:gd name="connsiteX99" fmla="*/ 4720853 w 6087079"/>
              <a:gd name="connsiteY99" fmla="*/ 6429376 h 6885758"/>
              <a:gd name="connsiteX100" fmla="*/ 4720123 w 6087079"/>
              <a:gd name="connsiteY100" fmla="*/ 6435212 h 6885758"/>
              <a:gd name="connsiteX101" fmla="*/ 4718664 w 6087079"/>
              <a:gd name="connsiteY101" fmla="*/ 6440500 h 6885758"/>
              <a:gd name="connsiteX102" fmla="*/ 4715746 w 6087079"/>
              <a:gd name="connsiteY102" fmla="*/ 6445606 h 6885758"/>
              <a:gd name="connsiteX103" fmla="*/ 4711917 w 6087079"/>
              <a:gd name="connsiteY103" fmla="*/ 6450165 h 6885758"/>
              <a:gd name="connsiteX104" fmla="*/ 4707540 w 6087079"/>
              <a:gd name="connsiteY104" fmla="*/ 6453813 h 6885758"/>
              <a:gd name="connsiteX105" fmla="*/ 4702252 w 6087079"/>
              <a:gd name="connsiteY105" fmla="*/ 6456001 h 6885758"/>
              <a:gd name="connsiteX106" fmla="*/ 4695687 w 6087079"/>
              <a:gd name="connsiteY106" fmla="*/ 6458189 h 6885758"/>
              <a:gd name="connsiteX107" fmla="*/ 4688940 w 6087079"/>
              <a:gd name="connsiteY107" fmla="*/ 6458919 h 6885758"/>
              <a:gd name="connsiteX108" fmla="*/ 4681463 w 6087079"/>
              <a:gd name="connsiteY108" fmla="*/ 6458189 h 6885758"/>
              <a:gd name="connsiteX109" fmla="*/ 4674898 w 6087079"/>
              <a:gd name="connsiteY109" fmla="*/ 6456001 h 6885758"/>
              <a:gd name="connsiteX110" fmla="*/ 4668880 w 6087079"/>
              <a:gd name="connsiteY110" fmla="*/ 6453083 h 6885758"/>
              <a:gd name="connsiteX111" fmla="*/ 4663045 w 6087079"/>
              <a:gd name="connsiteY111" fmla="*/ 6447795 h 6885758"/>
              <a:gd name="connsiteX112" fmla="*/ 4658486 w 6087079"/>
              <a:gd name="connsiteY112" fmla="*/ 6441959 h 6885758"/>
              <a:gd name="connsiteX113" fmla="*/ 4654838 w 6087079"/>
              <a:gd name="connsiteY113" fmla="*/ 6434482 h 6885758"/>
              <a:gd name="connsiteX114" fmla="*/ 4652650 w 6087079"/>
              <a:gd name="connsiteY114" fmla="*/ 6424817 h 6885758"/>
              <a:gd name="connsiteX115" fmla="*/ 4651921 w 6087079"/>
              <a:gd name="connsiteY115" fmla="*/ 6414423 h 6885758"/>
              <a:gd name="connsiteX116" fmla="*/ 4652650 w 6087079"/>
              <a:gd name="connsiteY116" fmla="*/ 6404028 h 6885758"/>
              <a:gd name="connsiteX117" fmla="*/ 4654109 w 6087079"/>
              <a:gd name="connsiteY117" fmla="*/ 6394545 h 6885758"/>
              <a:gd name="connsiteX118" fmla="*/ 4657027 w 6087079"/>
              <a:gd name="connsiteY118" fmla="*/ 6386339 h 6885758"/>
              <a:gd name="connsiteX119" fmla="*/ 4661586 w 6087079"/>
              <a:gd name="connsiteY119" fmla="*/ 6379592 h 6885758"/>
              <a:gd name="connsiteX120" fmla="*/ 4666692 w 6087079"/>
              <a:gd name="connsiteY120" fmla="*/ 6374486 h 6885758"/>
              <a:gd name="connsiteX121" fmla="*/ 4673439 w 6087079"/>
              <a:gd name="connsiteY121" fmla="*/ 6369927 h 6885758"/>
              <a:gd name="connsiteX122" fmla="*/ 4680733 w 6087079"/>
              <a:gd name="connsiteY122" fmla="*/ 6367009 h 6885758"/>
              <a:gd name="connsiteX123" fmla="*/ 4688940 w 6087079"/>
              <a:gd name="connsiteY123" fmla="*/ 6367009 h 6885758"/>
              <a:gd name="connsiteX124" fmla="*/ 4697146 w 6087079"/>
              <a:gd name="connsiteY124" fmla="*/ 6367738 h 6885758"/>
              <a:gd name="connsiteX125" fmla="*/ 4703711 w 6087079"/>
              <a:gd name="connsiteY125" fmla="*/ 6370838 h 6885758"/>
              <a:gd name="connsiteX126" fmla="*/ 4708999 w 6087079"/>
              <a:gd name="connsiteY126" fmla="*/ 6374486 h 6885758"/>
              <a:gd name="connsiteX127" fmla="*/ 4713376 w 6087079"/>
              <a:gd name="connsiteY127" fmla="*/ 6378862 h 6885758"/>
              <a:gd name="connsiteX128" fmla="*/ 4717205 w 6087079"/>
              <a:gd name="connsiteY128" fmla="*/ 6383421 h 6885758"/>
              <a:gd name="connsiteX129" fmla="*/ 4718664 w 6087079"/>
              <a:gd name="connsiteY129" fmla="*/ 6387068 h 6885758"/>
              <a:gd name="connsiteX130" fmla="*/ 4720123 w 6087079"/>
              <a:gd name="connsiteY130" fmla="*/ 6389986 h 6885758"/>
              <a:gd name="connsiteX131" fmla="*/ 4720853 w 6087079"/>
              <a:gd name="connsiteY131" fmla="*/ 6391445 h 6885758"/>
              <a:gd name="connsiteX132" fmla="*/ 4741642 w 6087079"/>
              <a:gd name="connsiteY132" fmla="*/ 6380321 h 6885758"/>
              <a:gd name="connsiteX133" fmla="*/ 4738724 w 6087079"/>
              <a:gd name="connsiteY133" fmla="*/ 6373027 h 6885758"/>
              <a:gd name="connsiteX134" fmla="*/ 4734165 w 6087079"/>
              <a:gd name="connsiteY134" fmla="*/ 6366279 h 6885758"/>
              <a:gd name="connsiteX135" fmla="*/ 4728329 w 6087079"/>
              <a:gd name="connsiteY135" fmla="*/ 6360444 h 6885758"/>
              <a:gd name="connsiteX136" fmla="*/ 4721582 w 6087079"/>
              <a:gd name="connsiteY136" fmla="*/ 6354426 h 6885758"/>
              <a:gd name="connsiteX137" fmla="*/ 4714105 w 6087079"/>
              <a:gd name="connsiteY137" fmla="*/ 6350779 h 6885758"/>
              <a:gd name="connsiteX138" fmla="*/ 4706081 w 6087079"/>
              <a:gd name="connsiteY138" fmla="*/ 6346949 h 6885758"/>
              <a:gd name="connsiteX139" fmla="*/ 4697146 w 6087079"/>
              <a:gd name="connsiteY139" fmla="*/ 6344761 h 6885758"/>
              <a:gd name="connsiteX140" fmla="*/ 4819510 w 6087079"/>
              <a:gd name="connsiteY140" fmla="*/ 6343302 h 6885758"/>
              <a:gd name="connsiteX141" fmla="*/ 4807657 w 6087079"/>
              <a:gd name="connsiteY141" fmla="*/ 6344032 h 6885758"/>
              <a:gd name="connsiteX142" fmla="*/ 4795803 w 6087079"/>
              <a:gd name="connsiteY142" fmla="*/ 6347861 h 6885758"/>
              <a:gd name="connsiteX143" fmla="*/ 4785408 w 6087079"/>
              <a:gd name="connsiteY143" fmla="*/ 6352967 h 6885758"/>
              <a:gd name="connsiteX144" fmla="*/ 4775743 w 6087079"/>
              <a:gd name="connsiteY144" fmla="*/ 6360444 h 6885758"/>
              <a:gd name="connsiteX145" fmla="*/ 4768267 w 6087079"/>
              <a:gd name="connsiteY145" fmla="*/ 6370839 h 6885758"/>
              <a:gd name="connsiteX146" fmla="*/ 4762431 w 6087079"/>
              <a:gd name="connsiteY146" fmla="*/ 6382692 h 6885758"/>
              <a:gd name="connsiteX147" fmla="*/ 4758601 w 6087079"/>
              <a:gd name="connsiteY147" fmla="*/ 6396734 h 6885758"/>
              <a:gd name="connsiteX148" fmla="*/ 4757872 w 6087079"/>
              <a:gd name="connsiteY148" fmla="*/ 6412964 h 6885758"/>
              <a:gd name="connsiteX149" fmla="*/ 4757872 w 6087079"/>
              <a:gd name="connsiteY149" fmla="*/ 6423359 h 6885758"/>
              <a:gd name="connsiteX150" fmla="*/ 4759331 w 6087079"/>
              <a:gd name="connsiteY150" fmla="*/ 6432294 h 6885758"/>
              <a:gd name="connsiteX151" fmla="*/ 4761702 w 6087079"/>
              <a:gd name="connsiteY151" fmla="*/ 6441230 h 6885758"/>
              <a:gd name="connsiteX152" fmla="*/ 4765349 w 6087079"/>
              <a:gd name="connsiteY152" fmla="*/ 6448525 h 6885758"/>
              <a:gd name="connsiteX153" fmla="*/ 4768996 w 6087079"/>
              <a:gd name="connsiteY153" fmla="*/ 6455272 h 6885758"/>
              <a:gd name="connsiteX154" fmla="*/ 4774284 w 6087079"/>
              <a:gd name="connsiteY154" fmla="*/ 6462019 h 6885758"/>
              <a:gd name="connsiteX155" fmla="*/ 4779391 w 6087079"/>
              <a:gd name="connsiteY155" fmla="*/ 6467125 h 6885758"/>
              <a:gd name="connsiteX156" fmla="*/ 4785408 w 6087079"/>
              <a:gd name="connsiteY156" fmla="*/ 6471502 h 6885758"/>
              <a:gd name="connsiteX157" fmla="*/ 4789056 w 6087079"/>
              <a:gd name="connsiteY157" fmla="*/ 6473873 h 6885758"/>
              <a:gd name="connsiteX158" fmla="*/ 4792703 w 6087079"/>
              <a:gd name="connsiteY158" fmla="*/ 6475332 h 6885758"/>
              <a:gd name="connsiteX159" fmla="*/ 4797262 w 6087079"/>
              <a:gd name="connsiteY159" fmla="*/ 6477520 h 6885758"/>
              <a:gd name="connsiteX160" fmla="*/ 4801639 w 6087079"/>
              <a:gd name="connsiteY160" fmla="*/ 6478979 h 6885758"/>
              <a:gd name="connsiteX161" fmla="*/ 4806198 w 6087079"/>
              <a:gd name="connsiteY161" fmla="*/ 6479708 h 6885758"/>
              <a:gd name="connsiteX162" fmla="*/ 4810574 w 6087079"/>
              <a:gd name="connsiteY162" fmla="*/ 6480438 h 6885758"/>
              <a:gd name="connsiteX163" fmla="*/ 4814951 w 6087079"/>
              <a:gd name="connsiteY163" fmla="*/ 6481167 h 6885758"/>
              <a:gd name="connsiteX164" fmla="*/ 4819510 w 6087079"/>
              <a:gd name="connsiteY164" fmla="*/ 6481167 h 6885758"/>
              <a:gd name="connsiteX165" fmla="*/ 4832822 w 6087079"/>
              <a:gd name="connsiteY165" fmla="*/ 6479708 h 6885758"/>
              <a:gd name="connsiteX166" fmla="*/ 4845405 w 6087079"/>
              <a:gd name="connsiteY166" fmla="*/ 6476061 h 6885758"/>
              <a:gd name="connsiteX167" fmla="*/ 4855800 w 6087079"/>
              <a:gd name="connsiteY167" fmla="*/ 6470043 h 6885758"/>
              <a:gd name="connsiteX168" fmla="*/ 4864735 w 6087079"/>
              <a:gd name="connsiteY168" fmla="*/ 6462019 h 6885758"/>
              <a:gd name="connsiteX169" fmla="*/ 4872030 w 6087079"/>
              <a:gd name="connsiteY169" fmla="*/ 6452354 h 6885758"/>
              <a:gd name="connsiteX170" fmla="*/ 4878048 w 6087079"/>
              <a:gd name="connsiteY170" fmla="*/ 6441230 h 6885758"/>
              <a:gd name="connsiteX171" fmla="*/ 4880966 w 6087079"/>
              <a:gd name="connsiteY171" fmla="*/ 6427918 h 6885758"/>
              <a:gd name="connsiteX172" fmla="*/ 4881695 w 6087079"/>
              <a:gd name="connsiteY172" fmla="*/ 6412964 h 6885758"/>
              <a:gd name="connsiteX173" fmla="*/ 4880236 w 6087079"/>
              <a:gd name="connsiteY173" fmla="*/ 6396005 h 6885758"/>
              <a:gd name="connsiteX174" fmla="*/ 4875859 w 6087079"/>
              <a:gd name="connsiteY174" fmla="*/ 6381051 h 6885758"/>
              <a:gd name="connsiteX175" fmla="*/ 4869842 w 6087079"/>
              <a:gd name="connsiteY175" fmla="*/ 6369198 h 6885758"/>
              <a:gd name="connsiteX176" fmla="*/ 4860906 w 6087079"/>
              <a:gd name="connsiteY176" fmla="*/ 6359715 h 6885758"/>
              <a:gd name="connsiteX177" fmla="*/ 4852153 w 6087079"/>
              <a:gd name="connsiteY177" fmla="*/ 6352238 h 6885758"/>
              <a:gd name="connsiteX178" fmla="*/ 4841029 w 6087079"/>
              <a:gd name="connsiteY178" fmla="*/ 6346949 h 6885758"/>
              <a:gd name="connsiteX179" fmla="*/ 4829905 w 6087079"/>
              <a:gd name="connsiteY179" fmla="*/ 6344032 h 6885758"/>
              <a:gd name="connsiteX180" fmla="*/ 4494726 w 6087079"/>
              <a:gd name="connsiteY180" fmla="*/ 6308471 h 6885758"/>
              <a:gd name="connsiteX181" fmla="*/ 4307807 w 6087079"/>
              <a:gd name="connsiteY181" fmla="*/ 6369927 h 6885758"/>
              <a:gd name="connsiteX182" fmla="*/ 4369445 w 6087079"/>
              <a:gd name="connsiteY182" fmla="*/ 6558305 h 6885758"/>
              <a:gd name="connsiteX183" fmla="*/ 4533934 w 6087079"/>
              <a:gd name="connsiteY183" fmla="*/ 6504144 h 6885758"/>
              <a:gd name="connsiteX184" fmla="*/ 4519892 w 6087079"/>
              <a:gd name="connsiteY184" fmla="*/ 6458919 h 6885758"/>
              <a:gd name="connsiteX185" fmla="*/ 4467920 w 6087079"/>
              <a:gd name="connsiteY185" fmla="*/ 6458919 h 6885758"/>
              <a:gd name="connsiteX186" fmla="*/ 4462084 w 6087079"/>
              <a:gd name="connsiteY186" fmla="*/ 6479708 h 6885758"/>
              <a:gd name="connsiteX187" fmla="*/ 4435277 w 6087079"/>
              <a:gd name="connsiteY187" fmla="*/ 6479708 h 6885758"/>
              <a:gd name="connsiteX188" fmla="*/ 4479773 w 6087079"/>
              <a:gd name="connsiteY188" fmla="*/ 6346220 h 6885758"/>
              <a:gd name="connsiteX189" fmla="*/ 4507309 w 6087079"/>
              <a:gd name="connsiteY189" fmla="*/ 6346220 h 6885758"/>
              <a:gd name="connsiteX190" fmla="*/ 2353342 w 6087079"/>
              <a:gd name="connsiteY190" fmla="*/ 0 h 6885758"/>
              <a:gd name="connsiteX191" fmla="*/ 6077554 w 6087079"/>
              <a:gd name="connsiteY191" fmla="*/ 10395 h 6885758"/>
              <a:gd name="connsiteX192" fmla="*/ 6087079 w 6087079"/>
              <a:gd name="connsiteY192" fmla="*/ 4007761 h 6885758"/>
              <a:gd name="connsiteX193" fmla="*/ 5101422 w 6087079"/>
              <a:gd name="connsiteY193" fmla="*/ 6885758 h 6885758"/>
              <a:gd name="connsiteX194" fmla="*/ 0 w 6087079"/>
              <a:gd name="connsiteY194" fmla="*/ 6879986 h 6885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6087079" h="6885758">
                <a:moveTo>
                  <a:pt x="4561470" y="6511621"/>
                </a:moveTo>
                <a:lnTo>
                  <a:pt x="4566576" y="6524933"/>
                </a:lnTo>
                <a:lnTo>
                  <a:pt x="4921085" y="6524933"/>
                </a:lnTo>
                <a:lnTo>
                  <a:pt x="4921085" y="6511621"/>
                </a:lnTo>
                <a:close/>
                <a:moveTo>
                  <a:pt x="4493268" y="6378133"/>
                </a:moveTo>
                <a:lnTo>
                  <a:pt x="4474667" y="6436671"/>
                </a:lnTo>
                <a:lnTo>
                  <a:pt x="4512416" y="6437400"/>
                </a:lnTo>
                <a:close/>
                <a:moveTo>
                  <a:pt x="4818781" y="6365550"/>
                </a:moveTo>
                <a:lnTo>
                  <a:pt x="4827716" y="6367009"/>
                </a:lnTo>
                <a:lnTo>
                  <a:pt x="4835740" y="6369927"/>
                </a:lnTo>
                <a:lnTo>
                  <a:pt x="4841758" y="6374486"/>
                </a:lnTo>
                <a:lnTo>
                  <a:pt x="4847594" y="6380322"/>
                </a:lnTo>
                <a:lnTo>
                  <a:pt x="4852153" y="6387798"/>
                </a:lnTo>
                <a:lnTo>
                  <a:pt x="4855070" y="6395275"/>
                </a:lnTo>
                <a:lnTo>
                  <a:pt x="4856529" y="6404028"/>
                </a:lnTo>
                <a:lnTo>
                  <a:pt x="4857259" y="6412964"/>
                </a:lnTo>
                <a:lnTo>
                  <a:pt x="4856529" y="6421900"/>
                </a:lnTo>
                <a:lnTo>
                  <a:pt x="4855070" y="6430106"/>
                </a:lnTo>
                <a:lnTo>
                  <a:pt x="4852153" y="6437401"/>
                </a:lnTo>
                <a:lnTo>
                  <a:pt x="4847594" y="6444148"/>
                </a:lnTo>
                <a:lnTo>
                  <a:pt x="4842487" y="6450166"/>
                </a:lnTo>
                <a:lnTo>
                  <a:pt x="4835740" y="6454543"/>
                </a:lnTo>
                <a:lnTo>
                  <a:pt x="4827716" y="6457460"/>
                </a:lnTo>
                <a:lnTo>
                  <a:pt x="4818781" y="6458190"/>
                </a:lnTo>
                <a:lnTo>
                  <a:pt x="4814951" y="6458190"/>
                </a:lnTo>
                <a:lnTo>
                  <a:pt x="4812033" y="6457460"/>
                </a:lnTo>
                <a:lnTo>
                  <a:pt x="4809115" y="6456731"/>
                </a:lnTo>
                <a:lnTo>
                  <a:pt x="4806198" y="6456001"/>
                </a:lnTo>
                <a:lnTo>
                  <a:pt x="4803097" y="6454543"/>
                </a:lnTo>
                <a:lnTo>
                  <a:pt x="4800180" y="6452354"/>
                </a:lnTo>
                <a:lnTo>
                  <a:pt x="4797991" y="6450895"/>
                </a:lnTo>
                <a:lnTo>
                  <a:pt x="4795074" y="6448525"/>
                </a:lnTo>
                <a:lnTo>
                  <a:pt x="4791973" y="6445607"/>
                </a:lnTo>
                <a:lnTo>
                  <a:pt x="4789785" y="6441230"/>
                </a:lnTo>
                <a:lnTo>
                  <a:pt x="4787597" y="6437401"/>
                </a:lnTo>
                <a:lnTo>
                  <a:pt x="4786138" y="6433024"/>
                </a:lnTo>
                <a:lnTo>
                  <a:pt x="4784679" y="6428647"/>
                </a:lnTo>
                <a:lnTo>
                  <a:pt x="4783220" y="6424088"/>
                </a:lnTo>
                <a:lnTo>
                  <a:pt x="4783220" y="6418982"/>
                </a:lnTo>
                <a:lnTo>
                  <a:pt x="4782308" y="6413694"/>
                </a:lnTo>
                <a:lnTo>
                  <a:pt x="4783220" y="6404940"/>
                </a:lnTo>
                <a:lnTo>
                  <a:pt x="4784679" y="6396734"/>
                </a:lnTo>
                <a:lnTo>
                  <a:pt x="4786867" y="6388528"/>
                </a:lnTo>
                <a:lnTo>
                  <a:pt x="4790515" y="6381051"/>
                </a:lnTo>
                <a:lnTo>
                  <a:pt x="4795803" y="6374486"/>
                </a:lnTo>
                <a:lnTo>
                  <a:pt x="4802368" y="6369927"/>
                </a:lnTo>
                <a:lnTo>
                  <a:pt x="4809845" y="6367009"/>
                </a:lnTo>
                <a:close/>
                <a:moveTo>
                  <a:pt x="4898107" y="6347861"/>
                </a:moveTo>
                <a:lnTo>
                  <a:pt x="4898107" y="6478249"/>
                </a:lnTo>
                <a:lnTo>
                  <a:pt x="4921814" y="6478249"/>
                </a:lnTo>
                <a:lnTo>
                  <a:pt x="4921814" y="6389987"/>
                </a:lnTo>
                <a:lnTo>
                  <a:pt x="4977434" y="6478249"/>
                </a:lnTo>
                <a:lnTo>
                  <a:pt x="5001141" y="6478249"/>
                </a:lnTo>
                <a:lnTo>
                  <a:pt x="5001141" y="6347861"/>
                </a:lnTo>
                <a:lnTo>
                  <a:pt x="4977434" y="6347861"/>
                </a:lnTo>
                <a:lnTo>
                  <a:pt x="4977434" y="6434483"/>
                </a:lnTo>
                <a:lnTo>
                  <a:pt x="4921814" y="6347861"/>
                </a:lnTo>
                <a:close/>
                <a:moveTo>
                  <a:pt x="4528828" y="6347861"/>
                </a:moveTo>
                <a:lnTo>
                  <a:pt x="4528828" y="6408587"/>
                </a:lnTo>
                <a:lnTo>
                  <a:pt x="4551805" y="6478978"/>
                </a:lnTo>
                <a:lnTo>
                  <a:pt x="4625114" y="6478978"/>
                </a:lnTo>
                <a:lnTo>
                  <a:pt x="4625114" y="6456001"/>
                </a:lnTo>
                <a:lnTo>
                  <a:pt x="4551805" y="6456001"/>
                </a:lnTo>
                <a:lnTo>
                  <a:pt x="4551805" y="6419711"/>
                </a:lnTo>
                <a:lnTo>
                  <a:pt x="4603596" y="6419711"/>
                </a:lnTo>
                <a:lnTo>
                  <a:pt x="4603596" y="6397463"/>
                </a:lnTo>
                <a:lnTo>
                  <a:pt x="4551805" y="6397463"/>
                </a:lnTo>
                <a:lnTo>
                  <a:pt x="4551805" y="6369197"/>
                </a:lnTo>
                <a:lnTo>
                  <a:pt x="4620737" y="6369197"/>
                </a:lnTo>
                <a:lnTo>
                  <a:pt x="4620737" y="6347861"/>
                </a:lnTo>
                <a:close/>
                <a:moveTo>
                  <a:pt x="4688210" y="6344031"/>
                </a:moveTo>
                <a:lnTo>
                  <a:pt x="4677086" y="6345490"/>
                </a:lnTo>
                <a:lnTo>
                  <a:pt x="4666692" y="6348590"/>
                </a:lnTo>
                <a:lnTo>
                  <a:pt x="4656297" y="6353696"/>
                </a:lnTo>
                <a:lnTo>
                  <a:pt x="4646632" y="6360444"/>
                </a:lnTo>
                <a:lnTo>
                  <a:pt x="4638608" y="6370838"/>
                </a:lnTo>
                <a:lnTo>
                  <a:pt x="4631861" y="6382692"/>
                </a:lnTo>
                <a:lnTo>
                  <a:pt x="4628214" y="6397463"/>
                </a:lnTo>
                <a:lnTo>
                  <a:pt x="4626755" y="6414423"/>
                </a:lnTo>
                <a:lnTo>
                  <a:pt x="4628214" y="6431565"/>
                </a:lnTo>
                <a:lnTo>
                  <a:pt x="4632591" y="6446336"/>
                </a:lnTo>
                <a:lnTo>
                  <a:pt x="4639338" y="6457460"/>
                </a:lnTo>
                <a:lnTo>
                  <a:pt x="4647362" y="6467125"/>
                </a:lnTo>
                <a:lnTo>
                  <a:pt x="4657027" y="6473872"/>
                </a:lnTo>
                <a:lnTo>
                  <a:pt x="4666692" y="6478249"/>
                </a:lnTo>
                <a:lnTo>
                  <a:pt x="4677816" y="6481167"/>
                </a:lnTo>
                <a:lnTo>
                  <a:pt x="4688210" y="6481896"/>
                </a:lnTo>
                <a:lnTo>
                  <a:pt x="4697146" y="6481167"/>
                </a:lnTo>
                <a:lnTo>
                  <a:pt x="4704623" y="6479708"/>
                </a:lnTo>
                <a:lnTo>
                  <a:pt x="4710458" y="6477520"/>
                </a:lnTo>
                <a:lnTo>
                  <a:pt x="4714835" y="6474602"/>
                </a:lnTo>
                <a:lnTo>
                  <a:pt x="4717935" y="6471502"/>
                </a:lnTo>
                <a:lnTo>
                  <a:pt x="4720853" y="6469313"/>
                </a:lnTo>
                <a:lnTo>
                  <a:pt x="4721582" y="6467854"/>
                </a:lnTo>
                <a:lnTo>
                  <a:pt x="4721582" y="6478978"/>
                </a:lnTo>
                <a:lnTo>
                  <a:pt x="4742371" y="6478978"/>
                </a:lnTo>
                <a:lnTo>
                  <a:pt x="4742371" y="6407128"/>
                </a:lnTo>
                <a:lnTo>
                  <a:pt x="4688940" y="6407128"/>
                </a:lnTo>
                <a:lnTo>
                  <a:pt x="4688940" y="6429376"/>
                </a:lnTo>
                <a:lnTo>
                  <a:pt x="4720853" y="6429376"/>
                </a:lnTo>
                <a:lnTo>
                  <a:pt x="4720123" y="6435212"/>
                </a:lnTo>
                <a:lnTo>
                  <a:pt x="4718664" y="6440500"/>
                </a:lnTo>
                <a:lnTo>
                  <a:pt x="4715746" y="6445606"/>
                </a:lnTo>
                <a:lnTo>
                  <a:pt x="4711917" y="6450165"/>
                </a:lnTo>
                <a:lnTo>
                  <a:pt x="4707540" y="6453813"/>
                </a:lnTo>
                <a:lnTo>
                  <a:pt x="4702252" y="6456001"/>
                </a:lnTo>
                <a:lnTo>
                  <a:pt x="4695687" y="6458189"/>
                </a:lnTo>
                <a:lnTo>
                  <a:pt x="4688940" y="6458919"/>
                </a:lnTo>
                <a:lnTo>
                  <a:pt x="4681463" y="6458189"/>
                </a:lnTo>
                <a:lnTo>
                  <a:pt x="4674898" y="6456001"/>
                </a:lnTo>
                <a:lnTo>
                  <a:pt x="4668880" y="6453083"/>
                </a:lnTo>
                <a:lnTo>
                  <a:pt x="4663045" y="6447795"/>
                </a:lnTo>
                <a:lnTo>
                  <a:pt x="4658486" y="6441959"/>
                </a:lnTo>
                <a:lnTo>
                  <a:pt x="4654838" y="6434482"/>
                </a:lnTo>
                <a:lnTo>
                  <a:pt x="4652650" y="6424817"/>
                </a:lnTo>
                <a:lnTo>
                  <a:pt x="4651921" y="6414423"/>
                </a:lnTo>
                <a:lnTo>
                  <a:pt x="4652650" y="6404028"/>
                </a:lnTo>
                <a:lnTo>
                  <a:pt x="4654109" y="6394545"/>
                </a:lnTo>
                <a:lnTo>
                  <a:pt x="4657027" y="6386339"/>
                </a:lnTo>
                <a:lnTo>
                  <a:pt x="4661586" y="6379592"/>
                </a:lnTo>
                <a:lnTo>
                  <a:pt x="4666692" y="6374486"/>
                </a:lnTo>
                <a:lnTo>
                  <a:pt x="4673439" y="6369927"/>
                </a:lnTo>
                <a:lnTo>
                  <a:pt x="4680733" y="6367009"/>
                </a:lnTo>
                <a:lnTo>
                  <a:pt x="4688940" y="6367009"/>
                </a:lnTo>
                <a:lnTo>
                  <a:pt x="4697146" y="6367738"/>
                </a:lnTo>
                <a:lnTo>
                  <a:pt x="4703711" y="6370838"/>
                </a:lnTo>
                <a:lnTo>
                  <a:pt x="4708999" y="6374486"/>
                </a:lnTo>
                <a:lnTo>
                  <a:pt x="4713376" y="6378862"/>
                </a:lnTo>
                <a:lnTo>
                  <a:pt x="4717205" y="6383421"/>
                </a:lnTo>
                <a:lnTo>
                  <a:pt x="4718664" y="6387068"/>
                </a:lnTo>
                <a:lnTo>
                  <a:pt x="4720123" y="6389986"/>
                </a:lnTo>
                <a:lnTo>
                  <a:pt x="4720853" y="6391445"/>
                </a:lnTo>
                <a:lnTo>
                  <a:pt x="4741642" y="6380321"/>
                </a:lnTo>
                <a:lnTo>
                  <a:pt x="4738724" y="6373027"/>
                </a:lnTo>
                <a:lnTo>
                  <a:pt x="4734165" y="6366279"/>
                </a:lnTo>
                <a:lnTo>
                  <a:pt x="4728329" y="6360444"/>
                </a:lnTo>
                <a:lnTo>
                  <a:pt x="4721582" y="6354426"/>
                </a:lnTo>
                <a:lnTo>
                  <a:pt x="4714105" y="6350779"/>
                </a:lnTo>
                <a:lnTo>
                  <a:pt x="4706081" y="6346949"/>
                </a:lnTo>
                <a:lnTo>
                  <a:pt x="4697146" y="6344761"/>
                </a:lnTo>
                <a:close/>
                <a:moveTo>
                  <a:pt x="4819510" y="6343302"/>
                </a:moveTo>
                <a:lnTo>
                  <a:pt x="4807657" y="6344032"/>
                </a:lnTo>
                <a:lnTo>
                  <a:pt x="4795803" y="6347861"/>
                </a:lnTo>
                <a:lnTo>
                  <a:pt x="4785408" y="6352967"/>
                </a:lnTo>
                <a:lnTo>
                  <a:pt x="4775743" y="6360444"/>
                </a:lnTo>
                <a:lnTo>
                  <a:pt x="4768267" y="6370839"/>
                </a:lnTo>
                <a:lnTo>
                  <a:pt x="4762431" y="6382692"/>
                </a:lnTo>
                <a:lnTo>
                  <a:pt x="4758601" y="6396734"/>
                </a:lnTo>
                <a:lnTo>
                  <a:pt x="4757872" y="6412964"/>
                </a:lnTo>
                <a:lnTo>
                  <a:pt x="4757872" y="6423359"/>
                </a:lnTo>
                <a:lnTo>
                  <a:pt x="4759331" y="6432294"/>
                </a:lnTo>
                <a:lnTo>
                  <a:pt x="4761702" y="6441230"/>
                </a:lnTo>
                <a:lnTo>
                  <a:pt x="4765349" y="6448525"/>
                </a:lnTo>
                <a:lnTo>
                  <a:pt x="4768996" y="6455272"/>
                </a:lnTo>
                <a:lnTo>
                  <a:pt x="4774284" y="6462019"/>
                </a:lnTo>
                <a:lnTo>
                  <a:pt x="4779391" y="6467125"/>
                </a:lnTo>
                <a:lnTo>
                  <a:pt x="4785408" y="6471502"/>
                </a:lnTo>
                <a:lnTo>
                  <a:pt x="4789056" y="6473873"/>
                </a:lnTo>
                <a:lnTo>
                  <a:pt x="4792703" y="6475332"/>
                </a:lnTo>
                <a:lnTo>
                  <a:pt x="4797262" y="6477520"/>
                </a:lnTo>
                <a:lnTo>
                  <a:pt x="4801639" y="6478979"/>
                </a:lnTo>
                <a:lnTo>
                  <a:pt x="4806198" y="6479708"/>
                </a:lnTo>
                <a:lnTo>
                  <a:pt x="4810574" y="6480438"/>
                </a:lnTo>
                <a:lnTo>
                  <a:pt x="4814951" y="6481167"/>
                </a:lnTo>
                <a:lnTo>
                  <a:pt x="4819510" y="6481167"/>
                </a:lnTo>
                <a:lnTo>
                  <a:pt x="4832822" y="6479708"/>
                </a:lnTo>
                <a:lnTo>
                  <a:pt x="4845405" y="6476061"/>
                </a:lnTo>
                <a:lnTo>
                  <a:pt x="4855800" y="6470043"/>
                </a:lnTo>
                <a:lnTo>
                  <a:pt x="4864735" y="6462019"/>
                </a:lnTo>
                <a:lnTo>
                  <a:pt x="4872030" y="6452354"/>
                </a:lnTo>
                <a:lnTo>
                  <a:pt x="4878048" y="6441230"/>
                </a:lnTo>
                <a:lnTo>
                  <a:pt x="4880966" y="6427918"/>
                </a:lnTo>
                <a:lnTo>
                  <a:pt x="4881695" y="6412964"/>
                </a:lnTo>
                <a:lnTo>
                  <a:pt x="4880236" y="6396005"/>
                </a:lnTo>
                <a:lnTo>
                  <a:pt x="4875859" y="6381051"/>
                </a:lnTo>
                <a:lnTo>
                  <a:pt x="4869842" y="6369198"/>
                </a:lnTo>
                <a:lnTo>
                  <a:pt x="4860906" y="6359715"/>
                </a:lnTo>
                <a:lnTo>
                  <a:pt x="4852153" y="6352238"/>
                </a:lnTo>
                <a:lnTo>
                  <a:pt x="4841029" y="6346949"/>
                </a:lnTo>
                <a:lnTo>
                  <a:pt x="4829905" y="6344032"/>
                </a:lnTo>
                <a:close/>
                <a:moveTo>
                  <a:pt x="4494726" y="6308471"/>
                </a:moveTo>
                <a:lnTo>
                  <a:pt x="4307807" y="6369927"/>
                </a:lnTo>
                <a:lnTo>
                  <a:pt x="4369445" y="6558305"/>
                </a:lnTo>
                <a:lnTo>
                  <a:pt x="4533934" y="6504144"/>
                </a:lnTo>
                <a:lnTo>
                  <a:pt x="4519892" y="6458919"/>
                </a:lnTo>
                <a:lnTo>
                  <a:pt x="4467920" y="6458919"/>
                </a:lnTo>
                <a:lnTo>
                  <a:pt x="4462084" y="6479708"/>
                </a:lnTo>
                <a:lnTo>
                  <a:pt x="4435277" y="6479708"/>
                </a:lnTo>
                <a:lnTo>
                  <a:pt x="4479773" y="6346220"/>
                </a:lnTo>
                <a:lnTo>
                  <a:pt x="4507309" y="6346220"/>
                </a:lnTo>
                <a:close/>
                <a:moveTo>
                  <a:pt x="2353342" y="0"/>
                </a:moveTo>
                <a:lnTo>
                  <a:pt x="6077554" y="10395"/>
                </a:lnTo>
                <a:lnTo>
                  <a:pt x="6087079" y="4007761"/>
                </a:lnTo>
                <a:lnTo>
                  <a:pt x="5101422" y="6885758"/>
                </a:lnTo>
                <a:lnTo>
                  <a:pt x="0" y="6879986"/>
                </a:lnTo>
                <a:close/>
              </a:path>
            </a:pathLst>
          </a:cu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wrap="square" tIns="180000">
            <a:noAutofit/>
          </a:bodyPr>
          <a:lstStyle>
            <a:lvl1pPr marL="0" indent="0" algn="ctr">
              <a:buNone/>
              <a:defRPr lang="nl-NL" sz="1600"/>
            </a:lvl1pPr>
          </a:lstStyle>
          <a:p>
            <a:pPr marL="228600" lvl="0" indent="-228600" algn="ctr"/>
            <a:r>
              <a:rPr lang="en-US" noProof="0" dirty="0"/>
              <a:t>Click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7143071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5511603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6955681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6735762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5650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7502678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pic>
        <p:nvPicPr>
          <p:cNvPr id="8" name="Picture 7" descr="Android.png">
            <a:extLst>
              <a:ext uri="{FF2B5EF4-FFF2-40B4-BE49-F238E27FC236}">
                <a16:creationId xmlns:a16="http://schemas.microsoft.com/office/drawing/2014/main" id="{697FABA5-4118-4203-BA93-DBCD7FC450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B00AF0-3BFA-4AC7-AB36-69D01C90D6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747760" y="2174240"/>
            <a:ext cx="1955800" cy="3281679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553822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7" descr="ipad.png">
            <a:extLst>
              <a:ext uri="{FF2B5EF4-FFF2-40B4-BE49-F238E27FC236}">
                <a16:creationId xmlns:a16="http://schemas.microsoft.com/office/drawing/2014/main" id="{40E220D6-FD15-44C4-AA9B-F78ACC70C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2880" y="2087067"/>
            <a:ext cx="4915097" cy="35671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052B7E-FDF2-4DAD-95AF-510105EFD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438" y="1"/>
            <a:ext cx="10515600" cy="1180618"/>
          </a:xfrm>
          <a:prstGeom prst="rect">
            <a:avLst/>
          </a:prstGeom>
        </p:spPr>
        <p:txBody>
          <a:bodyPr lIns="0" tIns="0" rIns="0" bIns="72000" anchor="b" anchorCtr="0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16BB5-BF5C-4F7D-9AB4-6C27C4B3BE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818" y="6318000"/>
            <a:ext cx="8518525" cy="3048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800" i="1"/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noProof="0"/>
              <a:t>Place footnotes in this area</a:t>
            </a:r>
          </a:p>
          <a:p>
            <a:pPr lvl="1"/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80D343-9626-4395-BD76-3B90D4250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9438" y="1203769"/>
            <a:ext cx="10515600" cy="46298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sub title style</a:t>
            </a:r>
          </a:p>
        </p:txBody>
      </p:sp>
      <p:sp>
        <p:nvSpPr>
          <p:cNvPr id="7" name="Tijdelijke aanduiding voor tekst 11">
            <a:extLst>
              <a:ext uri="{FF2B5EF4-FFF2-40B4-BE49-F238E27FC236}">
                <a16:creationId xmlns:a16="http://schemas.microsoft.com/office/drawing/2014/main" id="{0CB1BB79-5D26-4BD8-A329-06E3FEBD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439" y="1944546"/>
            <a:ext cx="5399682" cy="4120588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25475" indent="-2667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890588" indent="-265113"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/>
              <a:t>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B00AF0-3BFA-4AC7-AB36-69D01C90D6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33210" y="2286000"/>
            <a:ext cx="4069080" cy="3093719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tIns="180000"/>
          <a:lstStyle>
            <a:lvl1pPr>
              <a:defRPr lang="nl-NL" sz="160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57127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9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6.em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BE76E2-1259-4CB4-80C5-73515B0938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6383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6" imgW="307" imgH="307" progId="TCLayout.ActiveDocument.1">
                  <p:embed/>
                </p:oleObj>
              </mc:Choice>
              <mc:Fallback>
                <p:oleObj name="think-cell Slide" r:id="rId26" imgW="307" imgH="30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BE76E2-1259-4CB4-80C5-73515B093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8573C6A-ECFF-44EA-A4CF-E12EDCC25545}"/>
              </a:ext>
            </a:extLst>
          </p:cNvPr>
          <p:cNvSpPr/>
          <p:nvPr userDrawn="1"/>
        </p:nvSpPr>
        <p:spPr>
          <a:xfrm>
            <a:off x="11212945" y="3995738"/>
            <a:ext cx="979055" cy="2862262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hthoek 6"/>
          <p:cNvSpPr/>
          <p:nvPr/>
        </p:nvSpPr>
        <p:spPr>
          <a:xfrm>
            <a:off x="11330202" y="6259335"/>
            <a:ext cx="861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16CBE51-40AB-4568-9DCB-FCB109138947}"/>
              </a:ext>
            </a:extLst>
          </p:cNvPr>
          <p:cNvGrpSpPr/>
          <p:nvPr userDrawn="1"/>
        </p:nvGrpSpPr>
        <p:grpSpPr>
          <a:xfrm>
            <a:off x="10422255" y="6286500"/>
            <a:ext cx="693334" cy="249834"/>
            <a:chOff x="3078163" y="2341563"/>
            <a:chExt cx="6035676" cy="217487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9452363F-1EFC-41A6-A737-A30BA29AD6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90741357-AF3D-4487-8E2E-903F3D698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339E072B-CDEA-4BFC-A57D-D60C1DB255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AA42E0B3-A1AA-413E-BA8A-91CD2518B9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2F609CD-A9A0-4640-8BB9-1BFF9CC1E4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BBC7F87D-E711-471F-981C-717663BF0C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1F2A9AF7-A4DE-47FC-80BA-D2C540E32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463611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20" r:id="rId2"/>
    <p:sldLayoutId id="2147483925" r:id="rId3"/>
    <p:sldLayoutId id="2147483924" r:id="rId4"/>
    <p:sldLayoutId id="2147483937" r:id="rId5"/>
    <p:sldLayoutId id="2147483927" r:id="rId6"/>
    <p:sldLayoutId id="2147483929" r:id="rId7"/>
    <p:sldLayoutId id="2147483931" r:id="rId8"/>
    <p:sldLayoutId id="2147483932" r:id="rId9"/>
    <p:sldLayoutId id="2147483921" r:id="rId10"/>
    <p:sldLayoutId id="2147483940" r:id="rId11"/>
    <p:sldLayoutId id="2147483923" r:id="rId12"/>
    <p:sldLayoutId id="2147483941" r:id="rId13"/>
    <p:sldLayoutId id="2147483936" r:id="rId14"/>
    <p:sldLayoutId id="2147483928" r:id="rId15"/>
    <p:sldLayoutId id="2147483933" r:id="rId16"/>
    <p:sldLayoutId id="2147483934" r:id="rId17"/>
    <p:sldLayoutId id="2147483935" r:id="rId18"/>
    <p:sldLayoutId id="2147483939" r:id="rId19"/>
    <p:sldLayoutId id="2147483960" r:id="rId20"/>
    <p:sldLayoutId id="2147483968" r:id="rId21"/>
    <p:sldLayoutId id="214748396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3" userDrawn="1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0" imgW="353" imgH="353" progId="TCLayout.ActiveDocument.1">
                  <p:embed/>
                </p:oleObj>
              </mc:Choice>
              <mc:Fallback>
                <p:oleObj name="think-cell Slide" r:id="rId20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8573C6A-ECFF-44EA-A4CF-E12EDCC25545}"/>
              </a:ext>
            </a:extLst>
          </p:cNvPr>
          <p:cNvSpPr/>
          <p:nvPr userDrawn="1"/>
        </p:nvSpPr>
        <p:spPr>
          <a:xfrm>
            <a:off x="11212945" y="3454400"/>
            <a:ext cx="979055" cy="34036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11651935" y="6259335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16CBE51-40AB-4568-9DCB-FCB109138947}"/>
              </a:ext>
            </a:extLst>
          </p:cNvPr>
          <p:cNvGrpSpPr/>
          <p:nvPr userDrawn="1"/>
        </p:nvGrpSpPr>
        <p:grpSpPr>
          <a:xfrm>
            <a:off x="10422255" y="6286500"/>
            <a:ext cx="693334" cy="249834"/>
            <a:chOff x="3078163" y="2341563"/>
            <a:chExt cx="6035676" cy="217487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9452363F-1EFC-41A6-A737-A30BA29AD6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90741357-AF3D-4487-8E2E-903F3D698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339E072B-CDEA-4BFC-A57D-D60C1DB255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AA42E0B3-A1AA-413E-BA8A-91CD2518B9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2F609CD-A9A0-4640-8BB9-1BFF9CC1E4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BBC7F87D-E711-471F-981C-717663BF0C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1F2A9AF7-A4DE-47FC-80BA-D2C540E32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33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BE76E2-1259-4CB4-80C5-73515B0938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0" imgW="307" imgH="307" progId="TCLayout.ActiveDocument.1">
                  <p:embed/>
                </p:oleObj>
              </mc:Choice>
              <mc:Fallback>
                <p:oleObj name="think-cell Slide" r:id="rId10" imgW="307" imgH="30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BE76E2-1259-4CB4-80C5-73515B093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8573C6A-ECFF-44EA-A4CF-E12EDCC25545}"/>
              </a:ext>
            </a:extLst>
          </p:cNvPr>
          <p:cNvSpPr/>
          <p:nvPr userDrawn="1"/>
        </p:nvSpPr>
        <p:spPr>
          <a:xfrm>
            <a:off x="11212945" y="3995738"/>
            <a:ext cx="979055" cy="2862262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hthoek 6"/>
          <p:cNvSpPr/>
          <p:nvPr/>
        </p:nvSpPr>
        <p:spPr>
          <a:xfrm>
            <a:off x="11330202" y="6259335"/>
            <a:ext cx="861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16CBE51-40AB-4568-9DCB-FCB109138947}"/>
              </a:ext>
            </a:extLst>
          </p:cNvPr>
          <p:cNvGrpSpPr/>
          <p:nvPr userDrawn="1"/>
        </p:nvGrpSpPr>
        <p:grpSpPr>
          <a:xfrm>
            <a:off x="10422255" y="6286500"/>
            <a:ext cx="693334" cy="249834"/>
            <a:chOff x="3078163" y="2341563"/>
            <a:chExt cx="6035676" cy="217487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9452363F-1EFC-41A6-A737-A30BA29AD6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8163" y="2341563"/>
              <a:ext cx="1968500" cy="2174875"/>
            </a:xfrm>
            <a:custGeom>
              <a:avLst/>
              <a:gdLst>
                <a:gd name="T0" fmla="*/ 1025 w 1240"/>
                <a:gd name="T1" fmla="*/ 0 h 1370"/>
                <a:gd name="T2" fmla="*/ 0 w 1240"/>
                <a:gd name="T3" fmla="*/ 337 h 1370"/>
                <a:gd name="T4" fmla="*/ 338 w 1240"/>
                <a:gd name="T5" fmla="*/ 1370 h 1370"/>
                <a:gd name="T6" fmla="*/ 1240 w 1240"/>
                <a:gd name="T7" fmla="*/ 1073 h 1370"/>
                <a:gd name="T8" fmla="*/ 1163 w 1240"/>
                <a:gd name="T9" fmla="*/ 825 h 1370"/>
                <a:gd name="T10" fmla="*/ 878 w 1240"/>
                <a:gd name="T11" fmla="*/ 825 h 1370"/>
                <a:gd name="T12" fmla="*/ 846 w 1240"/>
                <a:gd name="T13" fmla="*/ 939 h 1370"/>
                <a:gd name="T14" fmla="*/ 699 w 1240"/>
                <a:gd name="T15" fmla="*/ 939 h 1370"/>
                <a:gd name="T16" fmla="*/ 943 w 1240"/>
                <a:gd name="T17" fmla="*/ 207 h 1370"/>
                <a:gd name="T18" fmla="*/ 1094 w 1240"/>
                <a:gd name="T19" fmla="*/ 207 h 1370"/>
                <a:gd name="T20" fmla="*/ 1025 w 1240"/>
                <a:gd name="T21" fmla="*/ 0 h 1370"/>
                <a:gd name="T22" fmla="*/ 1025 w 1240"/>
                <a:gd name="T23" fmla="*/ 0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0" h="1370">
                  <a:moveTo>
                    <a:pt x="1025" y="0"/>
                  </a:moveTo>
                  <a:lnTo>
                    <a:pt x="0" y="337"/>
                  </a:lnTo>
                  <a:lnTo>
                    <a:pt x="338" y="1370"/>
                  </a:lnTo>
                  <a:lnTo>
                    <a:pt x="1240" y="1073"/>
                  </a:lnTo>
                  <a:lnTo>
                    <a:pt x="1163" y="825"/>
                  </a:lnTo>
                  <a:lnTo>
                    <a:pt x="878" y="825"/>
                  </a:lnTo>
                  <a:lnTo>
                    <a:pt x="846" y="939"/>
                  </a:lnTo>
                  <a:lnTo>
                    <a:pt x="699" y="939"/>
                  </a:lnTo>
                  <a:lnTo>
                    <a:pt x="943" y="207"/>
                  </a:lnTo>
                  <a:lnTo>
                    <a:pt x="1094" y="207"/>
                  </a:lnTo>
                  <a:lnTo>
                    <a:pt x="1025" y="0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90741357-AF3D-4487-8E2E-903F3D698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726" y="2947988"/>
              <a:ext cx="328613" cy="515938"/>
            </a:xfrm>
            <a:custGeom>
              <a:avLst/>
              <a:gdLst>
                <a:gd name="T0" fmla="*/ 0 w 207"/>
                <a:gd name="T1" fmla="*/ 321 h 325"/>
                <a:gd name="T2" fmla="*/ 102 w 207"/>
                <a:gd name="T3" fmla="*/ 0 h 325"/>
                <a:gd name="T4" fmla="*/ 207 w 207"/>
                <a:gd name="T5" fmla="*/ 325 h 325"/>
                <a:gd name="T6" fmla="*/ 0 w 207"/>
                <a:gd name="T7" fmla="*/ 321 h 325"/>
                <a:gd name="T8" fmla="*/ 0 w 207"/>
                <a:gd name="T9" fmla="*/ 321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325">
                  <a:moveTo>
                    <a:pt x="0" y="321"/>
                  </a:moveTo>
                  <a:lnTo>
                    <a:pt x="102" y="0"/>
                  </a:lnTo>
                  <a:lnTo>
                    <a:pt x="207" y="325"/>
                  </a:lnTo>
                  <a:lnTo>
                    <a:pt x="0" y="321"/>
                  </a:lnTo>
                  <a:lnTo>
                    <a:pt x="0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339E072B-CDEA-4BFC-A57D-D60C1DB255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2213" y="2684463"/>
              <a:ext cx="838200" cy="1141413"/>
            </a:xfrm>
            <a:custGeom>
              <a:avLst/>
              <a:gdLst>
                <a:gd name="T0" fmla="*/ 504 w 528"/>
                <a:gd name="T1" fmla="*/ 0 h 719"/>
                <a:gd name="T2" fmla="*/ 0 w 528"/>
                <a:gd name="T3" fmla="*/ 0 h 719"/>
                <a:gd name="T4" fmla="*/ 0 w 528"/>
                <a:gd name="T5" fmla="*/ 333 h 719"/>
                <a:gd name="T6" fmla="*/ 126 w 528"/>
                <a:gd name="T7" fmla="*/ 719 h 719"/>
                <a:gd name="T8" fmla="*/ 528 w 528"/>
                <a:gd name="T9" fmla="*/ 719 h 719"/>
                <a:gd name="T10" fmla="*/ 528 w 528"/>
                <a:gd name="T11" fmla="*/ 593 h 719"/>
                <a:gd name="T12" fmla="*/ 126 w 528"/>
                <a:gd name="T13" fmla="*/ 593 h 719"/>
                <a:gd name="T14" fmla="*/ 126 w 528"/>
                <a:gd name="T15" fmla="*/ 394 h 719"/>
                <a:gd name="T16" fmla="*/ 410 w 528"/>
                <a:gd name="T17" fmla="*/ 394 h 719"/>
                <a:gd name="T18" fmla="*/ 410 w 528"/>
                <a:gd name="T19" fmla="*/ 272 h 719"/>
                <a:gd name="T20" fmla="*/ 126 w 528"/>
                <a:gd name="T21" fmla="*/ 272 h 719"/>
                <a:gd name="T22" fmla="*/ 126 w 528"/>
                <a:gd name="T23" fmla="*/ 117 h 719"/>
                <a:gd name="T24" fmla="*/ 504 w 528"/>
                <a:gd name="T25" fmla="*/ 117 h 719"/>
                <a:gd name="T26" fmla="*/ 504 w 528"/>
                <a:gd name="T27" fmla="*/ 0 h 719"/>
                <a:gd name="T28" fmla="*/ 504 w 528"/>
                <a:gd name="T29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719">
                  <a:moveTo>
                    <a:pt x="504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126" y="719"/>
                  </a:lnTo>
                  <a:lnTo>
                    <a:pt x="528" y="719"/>
                  </a:lnTo>
                  <a:lnTo>
                    <a:pt x="528" y="593"/>
                  </a:lnTo>
                  <a:lnTo>
                    <a:pt x="126" y="593"/>
                  </a:lnTo>
                  <a:lnTo>
                    <a:pt x="126" y="394"/>
                  </a:lnTo>
                  <a:lnTo>
                    <a:pt x="410" y="394"/>
                  </a:lnTo>
                  <a:lnTo>
                    <a:pt x="410" y="272"/>
                  </a:lnTo>
                  <a:lnTo>
                    <a:pt x="126" y="272"/>
                  </a:lnTo>
                  <a:lnTo>
                    <a:pt x="126" y="117"/>
                  </a:lnTo>
                  <a:lnTo>
                    <a:pt x="504" y="117"/>
                  </a:lnTo>
                  <a:lnTo>
                    <a:pt x="504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AA42E0B3-A1AA-413E-BA8A-91CD2518B9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6901" y="2684463"/>
              <a:ext cx="896938" cy="1135063"/>
            </a:xfrm>
            <a:custGeom>
              <a:avLst/>
              <a:gdLst>
                <a:gd name="T0" fmla="*/ 0 w 565"/>
                <a:gd name="T1" fmla="*/ 715 h 715"/>
                <a:gd name="T2" fmla="*/ 0 w 565"/>
                <a:gd name="T3" fmla="*/ 0 h 715"/>
                <a:gd name="T4" fmla="*/ 130 w 565"/>
                <a:gd name="T5" fmla="*/ 0 h 715"/>
                <a:gd name="T6" fmla="*/ 435 w 565"/>
                <a:gd name="T7" fmla="*/ 475 h 715"/>
                <a:gd name="T8" fmla="*/ 435 w 565"/>
                <a:gd name="T9" fmla="*/ 0 h 715"/>
                <a:gd name="T10" fmla="*/ 565 w 565"/>
                <a:gd name="T11" fmla="*/ 0 h 715"/>
                <a:gd name="T12" fmla="*/ 565 w 565"/>
                <a:gd name="T13" fmla="*/ 715 h 715"/>
                <a:gd name="T14" fmla="*/ 435 w 565"/>
                <a:gd name="T15" fmla="*/ 715 h 715"/>
                <a:gd name="T16" fmla="*/ 130 w 565"/>
                <a:gd name="T17" fmla="*/ 231 h 715"/>
                <a:gd name="T18" fmla="*/ 130 w 565"/>
                <a:gd name="T19" fmla="*/ 715 h 715"/>
                <a:gd name="T20" fmla="*/ 0 w 565"/>
                <a:gd name="T21" fmla="*/ 715 h 715"/>
                <a:gd name="T22" fmla="*/ 0 w 565"/>
                <a:gd name="T23" fmla="*/ 71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5" h="715">
                  <a:moveTo>
                    <a:pt x="0" y="715"/>
                  </a:moveTo>
                  <a:lnTo>
                    <a:pt x="0" y="0"/>
                  </a:lnTo>
                  <a:lnTo>
                    <a:pt x="130" y="0"/>
                  </a:lnTo>
                  <a:lnTo>
                    <a:pt x="435" y="475"/>
                  </a:lnTo>
                  <a:lnTo>
                    <a:pt x="435" y="0"/>
                  </a:lnTo>
                  <a:lnTo>
                    <a:pt x="565" y="0"/>
                  </a:lnTo>
                  <a:lnTo>
                    <a:pt x="565" y="715"/>
                  </a:lnTo>
                  <a:lnTo>
                    <a:pt x="435" y="715"/>
                  </a:lnTo>
                  <a:lnTo>
                    <a:pt x="130" y="231"/>
                  </a:lnTo>
                  <a:lnTo>
                    <a:pt x="130" y="715"/>
                  </a:lnTo>
                  <a:lnTo>
                    <a:pt x="0" y="715"/>
                  </a:lnTo>
                  <a:lnTo>
                    <a:pt x="0" y="7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2F609CD-A9A0-4640-8BB9-1BFF9CC1E4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54701" y="2651126"/>
              <a:ext cx="1006475" cy="1200150"/>
            </a:xfrm>
            <a:custGeom>
              <a:avLst/>
              <a:gdLst>
                <a:gd name="T0" fmla="*/ 386 w 634"/>
                <a:gd name="T1" fmla="*/ 4 h 756"/>
                <a:gd name="T2" fmla="*/ 479 w 634"/>
                <a:gd name="T3" fmla="*/ 37 h 756"/>
                <a:gd name="T4" fmla="*/ 557 w 634"/>
                <a:gd name="T5" fmla="*/ 90 h 756"/>
                <a:gd name="T6" fmla="*/ 614 w 634"/>
                <a:gd name="T7" fmla="*/ 159 h 756"/>
                <a:gd name="T8" fmla="*/ 516 w 634"/>
                <a:gd name="T9" fmla="*/ 260 h 756"/>
                <a:gd name="T10" fmla="*/ 504 w 634"/>
                <a:gd name="T11" fmla="*/ 236 h 756"/>
                <a:gd name="T12" fmla="*/ 475 w 634"/>
                <a:gd name="T13" fmla="*/ 191 h 756"/>
                <a:gd name="T14" fmla="*/ 422 w 634"/>
                <a:gd name="T15" fmla="*/ 147 h 756"/>
                <a:gd name="T16" fmla="*/ 341 w 634"/>
                <a:gd name="T17" fmla="*/ 126 h 756"/>
                <a:gd name="T18" fmla="*/ 256 w 634"/>
                <a:gd name="T19" fmla="*/ 142 h 756"/>
                <a:gd name="T20" fmla="*/ 191 w 634"/>
                <a:gd name="T21" fmla="*/ 195 h 756"/>
                <a:gd name="T22" fmla="*/ 150 w 634"/>
                <a:gd name="T23" fmla="*/ 277 h 756"/>
                <a:gd name="T24" fmla="*/ 138 w 634"/>
                <a:gd name="T25" fmla="*/ 386 h 756"/>
                <a:gd name="T26" fmla="*/ 154 w 634"/>
                <a:gd name="T27" fmla="*/ 496 h 756"/>
                <a:gd name="T28" fmla="*/ 199 w 634"/>
                <a:gd name="T29" fmla="*/ 569 h 756"/>
                <a:gd name="T30" fmla="*/ 264 w 634"/>
                <a:gd name="T31" fmla="*/ 614 h 756"/>
                <a:gd name="T32" fmla="*/ 341 w 634"/>
                <a:gd name="T33" fmla="*/ 630 h 756"/>
                <a:gd name="T34" fmla="*/ 414 w 634"/>
                <a:gd name="T35" fmla="*/ 614 h 756"/>
                <a:gd name="T36" fmla="*/ 467 w 634"/>
                <a:gd name="T37" fmla="*/ 582 h 756"/>
                <a:gd name="T38" fmla="*/ 504 w 634"/>
                <a:gd name="T39" fmla="*/ 529 h 756"/>
                <a:gd name="T40" fmla="*/ 516 w 634"/>
                <a:gd name="T41" fmla="*/ 468 h 756"/>
                <a:gd name="T42" fmla="*/ 341 w 634"/>
                <a:gd name="T43" fmla="*/ 346 h 756"/>
                <a:gd name="T44" fmla="*/ 634 w 634"/>
                <a:gd name="T45" fmla="*/ 740 h 756"/>
                <a:gd name="T46" fmla="*/ 520 w 634"/>
                <a:gd name="T47" fmla="*/ 675 h 756"/>
                <a:gd name="T48" fmla="*/ 516 w 634"/>
                <a:gd name="T49" fmla="*/ 687 h 756"/>
                <a:gd name="T50" fmla="*/ 483 w 634"/>
                <a:gd name="T51" fmla="*/ 716 h 756"/>
                <a:gd name="T52" fmla="*/ 427 w 634"/>
                <a:gd name="T53" fmla="*/ 744 h 756"/>
                <a:gd name="T54" fmla="*/ 337 w 634"/>
                <a:gd name="T55" fmla="*/ 756 h 756"/>
                <a:gd name="T56" fmla="*/ 219 w 634"/>
                <a:gd name="T57" fmla="*/ 736 h 756"/>
                <a:gd name="T58" fmla="*/ 113 w 634"/>
                <a:gd name="T59" fmla="*/ 675 h 756"/>
                <a:gd name="T60" fmla="*/ 32 w 634"/>
                <a:gd name="T61" fmla="*/ 561 h 756"/>
                <a:gd name="T62" fmla="*/ 0 w 634"/>
                <a:gd name="T63" fmla="*/ 386 h 756"/>
                <a:gd name="T64" fmla="*/ 28 w 634"/>
                <a:gd name="T65" fmla="*/ 212 h 756"/>
                <a:gd name="T66" fmla="*/ 109 w 634"/>
                <a:gd name="T67" fmla="*/ 90 h 756"/>
                <a:gd name="T68" fmla="*/ 219 w 634"/>
                <a:gd name="T69" fmla="*/ 25 h 756"/>
                <a:gd name="T70" fmla="*/ 337 w 634"/>
                <a:gd name="T71" fmla="*/ 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4" h="756">
                  <a:moveTo>
                    <a:pt x="337" y="0"/>
                  </a:moveTo>
                  <a:lnTo>
                    <a:pt x="386" y="4"/>
                  </a:lnTo>
                  <a:lnTo>
                    <a:pt x="435" y="16"/>
                  </a:lnTo>
                  <a:lnTo>
                    <a:pt x="479" y="37"/>
                  </a:lnTo>
                  <a:lnTo>
                    <a:pt x="520" y="57"/>
                  </a:lnTo>
                  <a:lnTo>
                    <a:pt x="557" y="90"/>
                  </a:lnTo>
                  <a:lnTo>
                    <a:pt x="589" y="122"/>
                  </a:lnTo>
                  <a:lnTo>
                    <a:pt x="614" y="159"/>
                  </a:lnTo>
                  <a:lnTo>
                    <a:pt x="630" y="199"/>
                  </a:lnTo>
                  <a:lnTo>
                    <a:pt x="516" y="260"/>
                  </a:lnTo>
                  <a:lnTo>
                    <a:pt x="512" y="252"/>
                  </a:lnTo>
                  <a:lnTo>
                    <a:pt x="504" y="236"/>
                  </a:lnTo>
                  <a:lnTo>
                    <a:pt x="496" y="216"/>
                  </a:lnTo>
                  <a:lnTo>
                    <a:pt x="475" y="191"/>
                  </a:lnTo>
                  <a:lnTo>
                    <a:pt x="451" y="167"/>
                  </a:lnTo>
                  <a:lnTo>
                    <a:pt x="422" y="147"/>
                  </a:lnTo>
                  <a:lnTo>
                    <a:pt x="386" y="130"/>
                  </a:lnTo>
                  <a:lnTo>
                    <a:pt x="341" y="126"/>
                  </a:lnTo>
                  <a:lnTo>
                    <a:pt x="296" y="126"/>
                  </a:lnTo>
                  <a:lnTo>
                    <a:pt x="256" y="142"/>
                  </a:lnTo>
                  <a:lnTo>
                    <a:pt x="219" y="167"/>
                  </a:lnTo>
                  <a:lnTo>
                    <a:pt x="191" y="195"/>
                  </a:lnTo>
                  <a:lnTo>
                    <a:pt x="166" y="232"/>
                  </a:lnTo>
                  <a:lnTo>
                    <a:pt x="150" y="277"/>
                  </a:lnTo>
                  <a:lnTo>
                    <a:pt x="142" y="329"/>
                  </a:lnTo>
                  <a:lnTo>
                    <a:pt x="138" y="386"/>
                  </a:lnTo>
                  <a:lnTo>
                    <a:pt x="142" y="443"/>
                  </a:lnTo>
                  <a:lnTo>
                    <a:pt x="154" y="496"/>
                  </a:lnTo>
                  <a:lnTo>
                    <a:pt x="174" y="537"/>
                  </a:lnTo>
                  <a:lnTo>
                    <a:pt x="199" y="569"/>
                  </a:lnTo>
                  <a:lnTo>
                    <a:pt x="231" y="598"/>
                  </a:lnTo>
                  <a:lnTo>
                    <a:pt x="264" y="614"/>
                  </a:lnTo>
                  <a:lnTo>
                    <a:pt x="300" y="626"/>
                  </a:lnTo>
                  <a:lnTo>
                    <a:pt x="341" y="630"/>
                  </a:lnTo>
                  <a:lnTo>
                    <a:pt x="378" y="626"/>
                  </a:lnTo>
                  <a:lnTo>
                    <a:pt x="414" y="614"/>
                  </a:lnTo>
                  <a:lnTo>
                    <a:pt x="443" y="602"/>
                  </a:lnTo>
                  <a:lnTo>
                    <a:pt x="467" y="582"/>
                  </a:lnTo>
                  <a:lnTo>
                    <a:pt x="488" y="557"/>
                  </a:lnTo>
                  <a:lnTo>
                    <a:pt x="504" y="529"/>
                  </a:lnTo>
                  <a:lnTo>
                    <a:pt x="512" y="500"/>
                  </a:lnTo>
                  <a:lnTo>
                    <a:pt x="516" y="468"/>
                  </a:lnTo>
                  <a:lnTo>
                    <a:pt x="341" y="468"/>
                  </a:lnTo>
                  <a:lnTo>
                    <a:pt x="341" y="346"/>
                  </a:lnTo>
                  <a:lnTo>
                    <a:pt x="634" y="346"/>
                  </a:lnTo>
                  <a:lnTo>
                    <a:pt x="634" y="740"/>
                  </a:lnTo>
                  <a:lnTo>
                    <a:pt x="520" y="740"/>
                  </a:lnTo>
                  <a:lnTo>
                    <a:pt x="520" y="675"/>
                  </a:lnTo>
                  <a:lnTo>
                    <a:pt x="520" y="679"/>
                  </a:lnTo>
                  <a:lnTo>
                    <a:pt x="516" y="687"/>
                  </a:lnTo>
                  <a:lnTo>
                    <a:pt x="500" y="699"/>
                  </a:lnTo>
                  <a:lnTo>
                    <a:pt x="483" y="716"/>
                  </a:lnTo>
                  <a:lnTo>
                    <a:pt x="459" y="732"/>
                  </a:lnTo>
                  <a:lnTo>
                    <a:pt x="427" y="744"/>
                  </a:lnTo>
                  <a:lnTo>
                    <a:pt x="386" y="752"/>
                  </a:lnTo>
                  <a:lnTo>
                    <a:pt x="337" y="756"/>
                  </a:lnTo>
                  <a:lnTo>
                    <a:pt x="280" y="752"/>
                  </a:lnTo>
                  <a:lnTo>
                    <a:pt x="219" y="736"/>
                  </a:lnTo>
                  <a:lnTo>
                    <a:pt x="166" y="712"/>
                  </a:lnTo>
                  <a:lnTo>
                    <a:pt x="113" y="675"/>
                  </a:lnTo>
                  <a:lnTo>
                    <a:pt x="69" y="622"/>
                  </a:lnTo>
                  <a:lnTo>
                    <a:pt x="32" y="561"/>
                  </a:lnTo>
                  <a:lnTo>
                    <a:pt x="8" y="480"/>
                  </a:lnTo>
                  <a:lnTo>
                    <a:pt x="0" y="386"/>
                  </a:lnTo>
                  <a:lnTo>
                    <a:pt x="8" y="293"/>
                  </a:lnTo>
                  <a:lnTo>
                    <a:pt x="28" y="212"/>
                  </a:lnTo>
                  <a:lnTo>
                    <a:pt x="65" y="147"/>
                  </a:lnTo>
                  <a:lnTo>
                    <a:pt x="109" y="90"/>
                  </a:lnTo>
                  <a:lnTo>
                    <a:pt x="162" y="53"/>
                  </a:lnTo>
                  <a:lnTo>
                    <a:pt x="219" y="25"/>
                  </a:lnTo>
                  <a:lnTo>
                    <a:pt x="276" y="8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BBC7F87D-E711-471F-981C-717663BF0C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6113" y="2644776"/>
              <a:ext cx="1077913" cy="1200150"/>
            </a:xfrm>
            <a:custGeom>
              <a:avLst/>
              <a:gdLst>
                <a:gd name="T0" fmla="*/ 220 w 679"/>
                <a:gd name="T1" fmla="*/ 590 h 756"/>
                <a:gd name="T2" fmla="*/ 248 w 679"/>
                <a:gd name="T3" fmla="*/ 610 h 756"/>
                <a:gd name="T4" fmla="*/ 281 w 679"/>
                <a:gd name="T5" fmla="*/ 622 h 756"/>
                <a:gd name="T6" fmla="*/ 313 w 679"/>
                <a:gd name="T7" fmla="*/ 630 h 756"/>
                <a:gd name="T8" fmla="*/ 383 w 679"/>
                <a:gd name="T9" fmla="*/ 626 h 756"/>
                <a:gd name="T10" fmla="*/ 464 w 679"/>
                <a:gd name="T11" fmla="*/ 586 h 756"/>
                <a:gd name="T12" fmla="*/ 517 w 679"/>
                <a:gd name="T13" fmla="*/ 516 h 756"/>
                <a:gd name="T14" fmla="*/ 541 w 679"/>
                <a:gd name="T15" fmla="*/ 431 h 756"/>
                <a:gd name="T16" fmla="*/ 541 w 679"/>
                <a:gd name="T17" fmla="*/ 333 h 756"/>
                <a:gd name="T18" fmla="*/ 517 w 679"/>
                <a:gd name="T19" fmla="*/ 244 h 756"/>
                <a:gd name="T20" fmla="*/ 460 w 679"/>
                <a:gd name="T21" fmla="*/ 171 h 756"/>
                <a:gd name="T22" fmla="*/ 383 w 679"/>
                <a:gd name="T23" fmla="*/ 130 h 756"/>
                <a:gd name="T24" fmla="*/ 285 w 679"/>
                <a:gd name="T25" fmla="*/ 130 h 756"/>
                <a:gd name="T26" fmla="*/ 208 w 679"/>
                <a:gd name="T27" fmla="*/ 171 h 756"/>
                <a:gd name="T28" fmla="*/ 159 w 679"/>
                <a:gd name="T29" fmla="*/ 248 h 756"/>
                <a:gd name="T30" fmla="*/ 139 w 679"/>
                <a:gd name="T31" fmla="*/ 338 h 756"/>
                <a:gd name="T32" fmla="*/ 139 w 679"/>
                <a:gd name="T33" fmla="*/ 415 h 756"/>
                <a:gd name="T34" fmla="*/ 147 w 679"/>
                <a:gd name="T35" fmla="*/ 468 h 756"/>
                <a:gd name="T36" fmla="*/ 163 w 679"/>
                <a:gd name="T37" fmla="*/ 516 h 756"/>
                <a:gd name="T38" fmla="*/ 187 w 679"/>
                <a:gd name="T39" fmla="*/ 561 h 756"/>
                <a:gd name="T40" fmla="*/ 151 w 679"/>
                <a:gd name="T41" fmla="*/ 703 h 756"/>
                <a:gd name="T42" fmla="*/ 90 w 679"/>
                <a:gd name="T43" fmla="*/ 651 h 756"/>
                <a:gd name="T44" fmla="*/ 41 w 679"/>
                <a:gd name="T45" fmla="*/ 577 h 756"/>
                <a:gd name="T46" fmla="*/ 8 w 679"/>
                <a:gd name="T47" fmla="*/ 488 h 756"/>
                <a:gd name="T48" fmla="*/ 0 w 679"/>
                <a:gd name="T49" fmla="*/ 382 h 756"/>
                <a:gd name="T50" fmla="*/ 25 w 679"/>
                <a:gd name="T51" fmla="*/ 216 h 756"/>
                <a:gd name="T52" fmla="*/ 98 w 679"/>
                <a:gd name="T53" fmla="*/ 94 h 756"/>
                <a:gd name="T54" fmla="*/ 208 w 679"/>
                <a:gd name="T55" fmla="*/ 25 h 756"/>
                <a:gd name="T56" fmla="*/ 338 w 679"/>
                <a:gd name="T57" fmla="*/ 0 h 756"/>
                <a:gd name="T58" fmla="*/ 456 w 679"/>
                <a:gd name="T59" fmla="*/ 20 h 756"/>
                <a:gd name="T60" fmla="*/ 565 w 679"/>
                <a:gd name="T61" fmla="*/ 90 h 756"/>
                <a:gd name="T62" fmla="*/ 647 w 679"/>
                <a:gd name="T63" fmla="*/ 207 h 756"/>
                <a:gd name="T64" fmla="*/ 679 w 679"/>
                <a:gd name="T65" fmla="*/ 382 h 756"/>
                <a:gd name="T66" fmla="*/ 659 w 679"/>
                <a:gd name="T67" fmla="*/ 537 h 756"/>
                <a:gd name="T68" fmla="*/ 586 w 679"/>
                <a:gd name="T69" fmla="*/ 651 h 756"/>
                <a:gd name="T70" fmla="*/ 480 w 679"/>
                <a:gd name="T71" fmla="*/ 728 h 756"/>
                <a:gd name="T72" fmla="*/ 338 w 679"/>
                <a:gd name="T73" fmla="*/ 756 h 756"/>
                <a:gd name="T74" fmla="*/ 289 w 679"/>
                <a:gd name="T75" fmla="*/ 752 h 756"/>
                <a:gd name="T76" fmla="*/ 240 w 679"/>
                <a:gd name="T77" fmla="*/ 744 h 756"/>
                <a:gd name="T78" fmla="*/ 191 w 679"/>
                <a:gd name="T79" fmla="*/ 724 h 756"/>
                <a:gd name="T80" fmla="*/ 151 w 679"/>
                <a:gd name="T81" fmla="*/ 703 h 756"/>
                <a:gd name="T82" fmla="*/ 204 w 679"/>
                <a:gd name="T83" fmla="*/ 57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9" h="756">
                  <a:moveTo>
                    <a:pt x="204" y="577"/>
                  </a:moveTo>
                  <a:lnTo>
                    <a:pt x="220" y="590"/>
                  </a:lnTo>
                  <a:lnTo>
                    <a:pt x="232" y="598"/>
                  </a:lnTo>
                  <a:lnTo>
                    <a:pt x="248" y="610"/>
                  </a:lnTo>
                  <a:lnTo>
                    <a:pt x="265" y="618"/>
                  </a:lnTo>
                  <a:lnTo>
                    <a:pt x="281" y="622"/>
                  </a:lnTo>
                  <a:lnTo>
                    <a:pt x="297" y="626"/>
                  </a:lnTo>
                  <a:lnTo>
                    <a:pt x="313" y="630"/>
                  </a:lnTo>
                  <a:lnTo>
                    <a:pt x="334" y="630"/>
                  </a:lnTo>
                  <a:lnTo>
                    <a:pt x="383" y="626"/>
                  </a:lnTo>
                  <a:lnTo>
                    <a:pt x="427" y="610"/>
                  </a:lnTo>
                  <a:lnTo>
                    <a:pt x="464" y="586"/>
                  </a:lnTo>
                  <a:lnTo>
                    <a:pt x="492" y="553"/>
                  </a:lnTo>
                  <a:lnTo>
                    <a:pt x="517" y="516"/>
                  </a:lnTo>
                  <a:lnTo>
                    <a:pt x="533" y="476"/>
                  </a:lnTo>
                  <a:lnTo>
                    <a:pt x="541" y="431"/>
                  </a:lnTo>
                  <a:lnTo>
                    <a:pt x="545" y="382"/>
                  </a:lnTo>
                  <a:lnTo>
                    <a:pt x="541" y="333"/>
                  </a:lnTo>
                  <a:lnTo>
                    <a:pt x="533" y="285"/>
                  </a:lnTo>
                  <a:lnTo>
                    <a:pt x="517" y="244"/>
                  </a:lnTo>
                  <a:lnTo>
                    <a:pt x="492" y="203"/>
                  </a:lnTo>
                  <a:lnTo>
                    <a:pt x="460" y="171"/>
                  </a:lnTo>
                  <a:lnTo>
                    <a:pt x="427" y="146"/>
                  </a:lnTo>
                  <a:lnTo>
                    <a:pt x="383" y="130"/>
                  </a:lnTo>
                  <a:lnTo>
                    <a:pt x="334" y="122"/>
                  </a:lnTo>
                  <a:lnTo>
                    <a:pt x="285" y="130"/>
                  </a:lnTo>
                  <a:lnTo>
                    <a:pt x="244" y="146"/>
                  </a:lnTo>
                  <a:lnTo>
                    <a:pt x="208" y="171"/>
                  </a:lnTo>
                  <a:lnTo>
                    <a:pt x="179" y="207"/>
                  </a:lnTo>
                  <a:lnTo>
                    <a:pt x="159" y="248"/>
                  </a:lnTo>
                  <a:lnTo>
                    <a:pt x="147" y="293"/>
                  </a:lnTo>
                  <a:lnTo>
                    <a:pt x="139" y="338"/>
                  </a:lnTo>
                  <a:lnTo>
                    <a:pt x="134" y="386"/>
                  </a:lnTo>
                  <a:lnTo>
                    <a:pt x="139" y="415"/>
                  </a:lnTo>
                  <a:lnTo>
                    <a:pt x="139" y="443"/>
                  </a:lnTo>
                  <a:lnTo>
                    <a:pt x="147" y="468"/>
                  </a:lnTo>
                  <a:lnTo>
                    <a:pt x="155" y="492"/>
                  </a:lnTo>
                  <a:lnTo>
                    <a:pt x="163" y="516"/>
                  </a:lnTo>
                  <a:lnTo>
                    <a:pt x="175" y="537"/>
                  </a:lnTo>
                  <a:lnTo>
                    <a:pt x="187" y="561"/>
                  </a:lnTo>
                  <a:lnTo>
                    <a:pt x="204" y="577"/>
                  </a:lnTo>
                  <a:lnTo>
                    <a:pt x="151" y="703"/>
                  </a:lnTo>
                  <a:lnTo>
                    <a:pt x="118" y="679"/>
                  </a:lnTo>
                  <a:lnTo>
                    <a:pt x="90" y="651"/>
                  </a:lnTo>
                  <a:lnTo>
                    <a:pt x="61" y="614"/>
                  </a:lnTo>
                  <a:lnTo>
                    <a:pt x="41" y="577"/>
                  </a:lnTo>
                  <a:lnTo>
                    <a:pt x="21" y="537"/>
                  </a:lnTo>
                  <a:lnTo>
                    <a:pt x="8" y="488"/>
                  </a:lnTo>
                  <a:lnTo>
                    <a:pt x="0" y="439"/>
                  </a:lnTo>
                  <a:lnTo>
                    <a:pt x="0" y="382"/>
                  </a:lnTo>
                  <a:lnTo>
                    <a:pt x="4" y="293"/>
                  </a:lnTo>
                  <a:lnTo>
                    <a:pt x="25" y="216"/>
                  </a:lnTo>
                  <a:lnTo>
                    <a:pt x="57" y="151"/>
                  </a:lnTo>
                  <a:lnTo>
                    <a:pt x="98" y="94"/>
                  </a:lnTo>
                  <a:lnTo>
                    <a:pt x="151" y="53"/>
                  </a:lnTo>
                  <a:lnTo>
                    <a:pt x="208" y="25"/>
                  </a:lnTo>
                  <a:lnTo>
                    <a:pt x="273" y="4"/>
                  </a:lnTo>
                  <a:lnTo>
                    <a:pt x="338" y="0"/>
                  </a:lnTo>
                  <a:lnTo>
                    <a:pt x="395" y="4"/>
                  </a:lnTo>
                  <a:lnTo>
                    <a:pt x="456" y="20"/>
                  </a:lnTo>
                  <a:lnTo>
                    <a:pt x="517" y="49"/>
                  </a:lnTo>
                  <a:lnTo>
                    <a:pt x="565" y="90"/>
                  </a:lnTo>
                  <a:lnTo>
                    <a:pt x="614" y="142"/>
                  </a:lnTo>
                  <a:lnTo>
                    <a:pt x="647" y="207"/>
                  </a:lnTo>
                  <a:lnTo>
                    <a:pt x="671" y="289"/>
                  </a:lnTo>
                  <a:lnTo>
                    <a:pt x="679" y="382"/>
                  </a:lnTo>
                  <a:lnTo>
                    <a:pt x="675" y="464"/>
                  </a:lnTo>
                  <a:lnTo>
                    <a:pt x="659" y="537"/>
                  </a:lnTo>
                  <a:lnTo>
                    <a:pt x="626" y="598"/>
                  </a:lnTo>
                  <a:lnTo>
                    <a:pt x="586" y="651"/>
                  </a:lnTo>
                  <a:lnTo>
                    <a:pt x="537" y="695"/>
                  </a:lnTo>
                  <a:lnTo>
                    <a:pt x="480" y="728"/>
                  </a:lnTo>
                  <a:lnTo>
                    <a:pt x="411" y="748"/>
                  </a:lnTo>
                  <a:lnTo>
                    <a:pt x="338" y="756"/>
                  </a:lnTo>
                  <a:lnTo>
                    <a:pt x="313" y="756"/>
                  </a:lnTo>
                  <a:lnTo>
                    <a:pt x="289" y="752"/>
                  </a:lnTo>
                  <a:lnTo>
                    <a:pt x="265" y="748"/>
                  </a:lnTo>
                  <a:lnTo>
                    <a:pt x="240" y="744"/>
                  </a:lnTo>
                  <a:lnTo>
                    <a:pt x="216" y="736"/>
                  </a:lnTo>
                  <a:lnTo>
                    <a:pt x="191" y="724"/>
                  </a:lnTo>
                  <a:lnTo>
                    <a:pt x="171" y="716"/>
                  </a:lnTo>
                  <a:lnTo>
                    <a:pt x="151" y="703"/>
                  </a:lnTo>
                  <a:lnTo>
                    <a:pt x="204" y="577"/>
                  </a:lnTo>
                  <a:lnTo>
                    <a:pt x="204" y="5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1F2A9AF7-A4DE-47FC-80BA-D2C540E32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6376" y="4110038"/>
              <a:ext cx="3130550" cy="115888"/>
            </a:xfrm>
            <a:custGeom>
              <a:avLst/>
              <a:gdLst>
                <a:gd name="T0" fmla="*/ 28 w 1972"/>
                <a:gd name="T1" fmla="*/ 73 h 73"/>
                <a:gd name="T2" fmla="*/ 0 w 1972"/>
                <a:gd name="T3" fmla="*/ 0 h 73"/>
                <a:gd name="T4" fmla="*/ 1972 w 1972"/>
                <a:gd name="T5" fmla="*/ 0 h 73"/>
                <a:gd name="T6" fmla="*/ 1972 w 1972"/>
                <a:gd name="T7" fmla="*/ 73 h 73"/>
                <a:gd name="T8" fmla="*/ 28 w 1972"/>
                <a:gd name="T9" fmla="*/ 73 h 73"/>
                <a:gd name="T10" fmla="*/ 28 w 1972"/>
                <a:gd name="T1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2" h="73">
                  <a:moveTo>
                    <a:pt x="28" y="73"/>
                  </a:moveTo>
                  <a:lnTo>
                    <a:pt x="0" y="0"/>
                  </a:lnTo>
                  <a:lnTo>
                    <a:pt x="1972" y="0"/>
                  </a:lnTo>
                  <a:lnTo>
                    <a:pt x="1972" y="73"/>
                  </a:lnTo>
                  <a:lnTo>
                    <a:pt x="28" y="73"/>
                  </a:lnTo>
                  <a:lnTo>
                    <a:pt x="2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463611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3" r:id="rId2"/>
    <p:sldLayoutId id="2147483962" r:id="rId3"/>
    <p:sldLayoutId id="2147483965" r:id="rId4"/>
    <p:sldLayoutId id="2147483966" r:id="rId5"/>
    <p:sldLayoutId id="2147483967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3" userDrawn="1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5.jpeg"/><Relationship Id="rId7" Type="http://schemas.openxmlformats.org/officeDocument/2006/relationships/image" Target="../media/image66.png"/><Relationship Id="rId2" Type="http://schemas.openxmlformats.org/officeDocument/2006/relationships/hyperlink" Target="https://www.atlassian.com/continuous-delivery/continuous-integration/trunk-based-development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9.png"/><Relationship Id="rId5" Type="http://schemas.openxmlformats.org/officeDocument/2006/relationships/image" Target="../media/image69.png"/><Relationship Id="rId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diagramQuickStyle" Target="../diagrams/quickStyle1.xml"/><Relationship Id="rId3" Type="http://schemas.openxmlformats.org/officeDocument/2006/relationships/image" Target="../media/image76.gif"/><Relationship Id="rId7" Type="http://schemas.openxmlformats.org/officeDocument/2006/relationships/image" Target="../media/image80.png"/><Relationship Id="rId12" Type="http://schemas.openxmlformats.org/officeDocument/2006/relationships/diagramLayout" Target="../diagrams/layout1.xml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9.png"/><Relationship Id="rId11" Type="http://schemas.openxmlformats.org/officeDocument/2006/relationships/diagramData" Target="../diagrams/data1.xml"/><Relationship Id="rId5" Type="http://schemas.openxmlformats.org/officeDocument/2006/relationships/image" Target="../media/image78.png"/><Relationship Id="rId15" Type="http://schemas.microsoft.com/office/2007/relationships/diagramDrawing" Target="../diagrams/drawing1.xml"/><Relationship Id="rId10" Type="http://schemas.openxmlformats.org/officeDocument/2006/relationships/image" Target="../media/image82.png"/><Relationship Id="rId4" Type="http://schemas.openxmlformats.org/officeDocument/2006/relationships/image" Target="../media/image77.png"/><Relationship Id="rId9" Type="http://schemas.openxmlformats.org/officeDocument/2006/relationships/image" Target="../media/image81.png"/><Relationship Id="rId14" Type="http://schemas.openxmlformats.org/officeDocument/2006/relationships/diagramColors" Target="../diagrams/colors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84.png"/><Relationship Id="rId7" Type="http://schemas.openxmlformats.org/officeDocument/2006/relationships/image" Target="../media/image40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Relationship Id="rId9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tags" Target="../tags/tag34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notesSlide" Target="../notesSlides/notesSlide5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slideLayout" Target="../slideLayouts/slideLayout20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8" Type="http://schemas.openxmlformats.org/officeDocument/2006/relationships/tags" Target="../tags/tag13.xml"/><Relationship Id="rId3" Type="http://schemas.openxmlformats.org/officeDocument/2006/relationships/tags" Target="../tags/tag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89.png"/><Relationship Id="rId7" Type="http://schemas.openxmlformats.org/officeDocument/2006/relationships/image" Target="../media/image9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0.png"/><Relationship Id="rId5" Type="http://schemas.openxmlformats.org/officeDocument/2006/relationships/image" Target="../media/image40.png"/><Relationship Id="rId4" Type="http://schemas.openxmlformats.org/officeDocument/2006/relationships/image" Target="../media/image36.png"/><Relationship Id="rId9" Type="http://schemas.openxmlformats.org/officeDocument/2006/relationships/image" Target="../media/image9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jpe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8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image" Target="../media/image8.png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11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image" Target="../media/image10.png"/><Relationship Id="rId9" Type="http://schemas.microsoft.com/office/2007/relationships/hdphoto" Target="../media/hdphoto1.wdp"/><Relationship Id="rId1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7.png"/><Relationship Id="rId18" Type="http://schemas.openxmlformats.org/officeDocument/2006/relationships/image" Target="../media/image27.svg"/><Relationship Id="rId26" Type="http://schemas.openxmlformats.org/officeDocument/2006/relationships/image" Target="../media/image31.png"/><Relationship Id="rId3" Type="http://schemas.openxmlformats.org/officeDocument/2006/relationships/image" Target="../media/image9.png"/><Relationship Id="rId21" Type="http://schemas.openxmlformats.org/officeDocument/2006/relationships/image" Target="../media/image21.png"/><Relationship Id="rId7" Type="http://schemas.openxmlformats.org/officeDocument/2006/relationships/image" Target="../media/image13.png"/><Relationship Id="rId12" Type="http://schemas.openxmlformats.org/officeDocument/2006/relationships/image" Target="../media/image23.png"/><Relationship Id="rId17" Type="http://schemas.openxmlformats.org/officeDocument/2006/relationships/image" Target="../media/image26.png"/><Relationship Id="rId25" Type="http://schemas.openxmlformats.org/officeDocument/2006/relationships/image" Target="../media/image30.png"/><Relationship Id="rId2" Type="http://schemas.openxmlformats.org/officeDocument/2006/relationships/image" Target="../media/image8.png"/><Relationship Id="rId16" Type="http://schemas.openxmlformats.org/officeDocument/2006/relationships/image" Target="../media/image25.svg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24" Type="http://schemas.openxmlformats.org/officeDocument/2006/relationships/image" Target="../media/image22.png"/><Relationship Id="rId5" Type="http://schemas.openxmlformats.org/officeDocument/2006/relationships/image" Target="../media/image11.png"/><Relationship Id="rId15" Type="http://schemas.openxmlformats.org/officeDocument/2006/relationships/image" Target="../media/image24.png"/><Relationship Id="rId23" Type="http://schemas.openxmlformats.org/officeDocument/2006/relationships/image" Target="../media/image29.png"/><Relationship Id="rId10" Type="http://schemas.openxmlformats.org/officeDocument/2006/relationships/image" Target="../media/image15.png"/><Relationship Id="rId19" Type="http://schemas.openxmlformats.org/officeDocument/2006/relationships/image" Target="../media/image19.png"/><Relationship Id="rId4" Type="http://schemas.openxmlformats.org/officeDocument/2006/relationships/image" Target="../media/image10.png"/><Relationship Id="rId9" Type="http://schemas.microsoft.com/office/2007/relationships/hdphoto" Target="../media/hdphoto1.wdp"/><Relationship Id="rId14" Type="http://schemas.openxmlformats.org/officeDocument/2006/relationships/image" Target="../media/image18.png"/><Relationship Id="rId22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png"/><Relationship Id="rId3" Type="http://schemas.openxmlformats.org/officeDocument/2006/relationships/image" Target="../media/image27.svg"/><Relationship Id="rId7" Type="http://schemas.openxmlformats.org/officeDocument/2006/relationships/image" Target="../media/image34.jpeg"/><Relationship Id="rId12" Type="http://schemas.openxmlformats.org/officeDocument/2006/relationships/image" Target="../media/image29.png"/><Relationship Id="rId2" Type="http://schemas.openxmlformats.org/officeDocument/2006/relationships/image" Target="../media/image26.png"/><Relationship Id="rId16" Type="http://schemas.openxmlformats.org/officeDocument/2006/relationships/image" Target="../media/image42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1.png"/><Relationship Id="rId10" Type="http://schemas.openxmlformats.org/officeDocument/2006/relationships/image" Target="../media/image37.png"/><Relationship Id="rId4" Type="http://schemas.openxmlformats.org/officeDocument/2006/relationships/image" Target="../media/image19.png"/><Relationship Id="rId9" Type="http://schemas.openxmlformats.org/officeDocument/2006/relationships/image" Target="../media/image36.png"/><Relationship Id="rId14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3.png"/><Relationship Id="rId18" Type="http://schemas.openxmlformats.org/officeDocument/2006/relationships/image" Target="../media/image41.png"/><Relationship Id="rId26" Type="http://schemas.openxmlformats.org/officeDocument/2006/relationships/image" Target="../media/image62.png"/><Relationship Id="rId3" Type="http://schemas.openxmlformats.org/officeDocument/2006/relationships/image" Target="../media/image44.svg"/><Relationship Id="rId21" Type="http://schemas.openxmlformats.org/officeDocument/2006/relationships/image" Target="../media/image59.png"/><Relationship Id="rId7" Type="http://schemas.openxmlformats.org/officeDocument/2006/relationships/image" Target="../media/image48.svg"/><Relationship Id="rId12" Type="http://schemas.openxmlformats.org/officeDocument/2006/relationships/image" Target="../media/image36.png"/><Relationship Id="rId17" Type="http://schemas.openxmlformats.org/officeDocument/2006/relationships/image" Target="../media/image40.png"/><Relationship Id="rId25" Type="http://schemas.openxmlformats.org/officeDocument/2006/relationships/image" Target="../media/image61.png"/><Relationship Id="rId2" Type="http://schemas.openxmlformats.org/officeDocument/2006/relationships/image" Target="../media/image43.png"/><Relationship Id="rId16" Type="http://schemas.openxmlformats.org/officeDocument/2006/relationships/image" Target="../media/image56.png"/><Relationship Id="rId20" Type="http://schemas.openxmlformats.org/officeDocument/2006/relationships/image" Target="../media/image58.sv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24" Type="http://schemas.openxmlformats.org/officeDocument/2006/relationships/image" Target="../media/image27.svg"/><Relationship Id="rId5" Type="http://schemas.openxmlformats.org/officeDocument/2006/relationships/image" Target="../media/image46.svg"/><Relationship Id="rId15" Type="http://schemas.openxmlformats.org/officeDocument/2006/relationships/image" Target="../media/image55.png"/><Relationship Id="rId23" Type="http://schemas.openxmlformats.org/officeDocument/2006/relationships/image" Target="../media/image26.png"/><Relationship Id="rId10" Type="http://schemas.openxmlformats.org/officeDocument/2006/relationships/image" Target="../media/image51.png"/><Relationship Id="rId19" Type="http://schemas.openxmlformats.org/officeDocument/2006/relationships/image" Target="../media/image57.png"/><Relationship Id="rId4" Type="http://schemas.openxmlformats.org/officeDocument/2006/relationships/image" Target="../media/image45.png"/><Relationship Id="rId9" Type="http://schemas.openxmlformats.org/officeDocument/2006/relationships/image" Target="../media/image50.svg"/><Relationship Id="rId14" Type="http://schemas.openxmlformats.org/officeDocument/2006/relationships/image" Target="../media/image54.png"/><Relationship Id="rId22" Type="http://schemas.openxmlformats.org/officeDocument/2006/relationships/image" Target="../media/image60.png"/><Relationship Id="rId27" Type="http://schemas.openxmlformats.org/officeDocument/2006/relationships/image" Target="../media/image6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3.png"/><Relationship Id="rId18" Type="http://schemas.openxmlformats.org/officeDocument/2006/relationships/image" Target="../media/image41.png"/><Relationship Id="rId26" Type="http://schemas.openxmlformats.org/officeDocument/2006/relationships/image" Target="../media/image62.png"/><Relationship Id="rId3" Type="http://schemas.openxmlformats.org/officeDocument/2006/relationships/image" Target="../media/image44.svg"/><Relationship Id="rId21" Type="http://schemas.openxmlformats.org/officeDocument/2006/relationships/image" Target="../media/image59.png"/><Relationship Id="rId7" Type="http://schemas.openxmlformats.org/officeDocument/2006/relationships/image" Target="../media/image48.svg"/><Relationship Id="rId12" Type="http://schemas.openxmlformats.org/officeDocument/2006/relationships/image" Target="../media/image36.png"/><Relationship Id="rId17" Type="http://schemas.openxmlformats.org/officeDocument/2006/relationships/image" Target="../media/image40.png"/><Relationship Id="rId25" Type="http://schemas.openxmlformats.org/officeDocument/2006/relationships/image" Target="../media/image61.png"/><Relationship Id="rId2" Type="http://schemas.openxmlformats.org/officeDocument/2006/relationships/image" Target="../media/image43.png"/><Relationship Id="rId16" Type="http://schemas.openxmlformats.org/officeDocument/2006/relationships/image" Target="../media/image56.png"/><Relationship Id="rId20" Type="http://schemas.openxmlformats.org/officeDocument/2006/relationships/image" Target="../media/image58.sv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24" Type="http://schemas.openxmlformats.org/officeDocument/2006/relationships/image" Target="../media/image27.svg"/><Relationship Id="rId5" Type="http://schemas.openxmlformats.org/officeDocument/2006/relationships/image" Target="../media/image46.svg"/><Relationship Id="rId15" Type="http://schemas.openxmlformats.org/officeDocument/2006/relationships/image" Target="../media/image55.png"/><Relationship Id="rId23" Type="http://schemas.openxmlformats.org/officeDocument/2006/relationships/image" Target="../media/image26.png"/><Relationship Id="rId10" Type="http://schemas.openxmlformats.org/officeDocument/2006/relationships/image" Target="../media/image51.png"/><Relationship Id="rId19" Type="http://schemas.openxmlformats.org/officeDocument/2006/relationships/image" Target="../media/image57.png"/><Relationship Id="rId4" Type="http://schemas.openxmlformats.org/officeDocument/2006/relationships/image" Target="../media/image45.png"/><Relationship Id="rId9" Type="http://schemas.openxmlformats.org/officeDocument/2006/relationships/image" Target="../media/image50.svg"/><Relationship Id="rId14" Type="http://schemas.openxmlformats.org/officeDocument/2006/relationships/image" Target="../media/image54.png"/><Relationship Id="rId22" Type="http://schemas.openxmlformats.org/officeDocument/2006/relationships/image" Target="../media/image60.png"/><Relationship Id="rId27" Type="http://schemas.openxmlformats.org/officeDocument/2006/relationships/image" Target="../media/image6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18" Type="http://schemas.openxmlformats.org/officeDocument/2006/relationships/image" Target="../media/image57.png"/><Relationship Id="rId26" Type="http://schemas.openxmlformats.org/officeDocument/2006/relationships/image" Target="../media/image63.png"/><Relationship Id="rId3" Type="http://schemas.openxmlformats.org/officeDocument/2006/relationships/image" Target="../media/image44.svg"/><Relationship Id="rId21" Type="http://schemas.openxmlformats.org/officeDocument/2006/relationships/image" Target="../media/image60.png"/><Relationship Id="rId7" Type="http://schemas.openxmlformats.org/officeDocument/2006/relationships/image" Target="../media/image48.svg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5" Type="http://schemas.openxmlformats.org/officeDocument/2006/relationships/image" Target="../media/image62.png"/><Relationship Id="rId2" Type="http://schemas.openxmlformats.org/officeDocument/2006/relationships/image" Target="../media/image43.png"/><Relationship Id="rId16" Type="http://schemas.openxmlformats.org/officeDocument/2006/relationships/image" Target="../media/image40.png"/><Relationship Id="rId20" Type="http://schemas.openxmlformats.org/officeDocument/2006/relationships/image" Target="../media/image5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24" Type="http://schemas.openxmlformats.org/officeDocument/2006/relationships/image" Target="../media/image61.png"/><Relationship Id="rId5" Type="http://schemas.openxmlformats.org/officeDocument/2006/relationships/image" Target="../media/image46.svg"/><Relationship Id="rId15" Type="http://schemas.openxmlformats.org/officeDocument/2006/relationships/image" Target="../media/image56.png"/><Relationship Id="rId23" Type="http://schemas.openxmlformats.org/officeDocument/2006/relationships/image" Target="../media/image27.svg"/><Relationship Id="rId10" Type="http://schemas.openxmlformats.org/officeDocument/2006/relationships/image" Target="../media/image51.png"/><Relationship Id="rId19" Type="http://schemas.openxmlformats.org/officeDocument/2006/relationships/image" Target="../media/image58.svg"/><Relationship Id="rId4" Type="http://schemas.openxmlformats.org/officeDocument/2006/relationships/image" Target="../media/image45.png"/><Relationship Id="rId9" Type="http://schemas.openxmlformats.org/officeDocument/2006/relationships/image" Target="../media/image50.svg"/><Relationship Id="rId14" Type="http://schemas.openxmlformats.org/officeDocument/2006/relationships/image" Target="../media/image55.png"/><Relationship Id="rId22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6FA22B0-8C3F-4BB5-8C21-F25C6AF7EE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116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45" imgH="246" progId="TCLayout.ActiveDocument.1">
                  <p:embed/>
                </p:oleObj>
              </mc:Choice>
              <mc:Fallback>
                <p:oleObj name="think-cell Slide" r:id="rId5" imgW="245" imgH="24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6FA22B0-8C3F-4BB5-8C21-F25C6AF7EE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817" y="1554899"/>
            <a:ext cx="4641551" cy="1338161"/>
          </a:xfrm>
        </p:spPr>
        <p:txBody>
          <a:bodyPr vert="horz"/>
          <a:lstStyle/>
          <a:p>
            <a:r>
              <a:rPr lang="en-US" dirty="0"/>
              <a:t>New Public Web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29B8C37-5BAF-4749-B105-53BD7B6BC7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45720" rIns="91440" bIns="45720" anchor="ctr"/>
          <a:lstStyle/>
          <a:p>
            <a:r>
              <a:rPr lang="en-US" dirty="0"/>
              <a:t>15 June 2022</a:t>
            </a:r>
            <a:endParaRPr lang="en-US" dirty="0">
              <a:cs typeface="Arial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8790D44B-DB98-4899-B66E-DC1158261E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7" y="2933700"/>
            <a:ext cx="3992563" cy="626365"/>
          </a:xfrm>
        </p:spPr>
        <p:txBody>
          <a:bodyPr/>
          <a:lstStyle/>
          <a:p>
            <a:r>
              <a:rPr lang="nl-NL" b="0" dirty="0"/>
              <a:t>Engineering amazing experiences using Adobe Experience Clou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F9FFD95-F1CB-42E7-B897-EDD411EA0A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/>
              <a:t>Srinivas Gopinath Parimi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C1FBB82A-5018-4505-B428-B15AE241A1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l-NL" dirty="0"/>
              <a:t>Cloud Solutions Architect</a:t>
            </a:r>
          </a:p>
        </p:txBody>
      </p:sp>
      <p:pic>
        <p:nvPicPr>
          <p:cNvPr id="5" name="Picture Placeholder 4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2CC37018-0FE6-4FB6-B42D-2E35546D62C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78" r="837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0095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F7DED-7C13-4B6E-B3D5-AC84B884F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33646"/>
          </a:xfrm>
        </p:spPr>
        <p:txBody>
          <a:bodyPr/>
          <a:lstStyle/>
          <a:p>
            <a:r>
              <a:rPr lang="en-GB" dirty="0"/>
              <a:t>DevOps workflo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9CBCB3-BE57-490C-836B-856441962E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0966" y="6229223"/>
            <a:ext cx="5215797" cy="261606"/>
          </a:xfrm>
        </p:spPr>
        <p:txBody>
          <a:bodyPr/>
          <a:lstStyle/>
          <a:p>
            <a:r>
              <a:rPr lang="en-US" sz="1200" b="1" dirty="0">
                <a:hlinkClick r:id="rId2"/>
              </a:rPr>
              <a:t>Trunk-based development and deployment</a:t>
            </a:r>
            <a:endParaRPr lang="en-GB" sz="1200" b="1" dirty="0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73D2C3E5-688E-4F5D-B86F-882826C92A7A}"/>
              </a:ext>
            </a:extLst>
          </p:cNvPr>
          <p:cNvGrpSpPr/>
          <p:nvPr/>
        </p:nvGrpSpPr>
        <p:grpSpPr>
          <a:xfrm>
            <a:off x="412173" y="915099"/>
            <a:ext cx="10850130" cy="4863753"/>
            <a:chOff x="443598" y="669849"/>
            <a:chExt cx="10850130" cy="4863753"/>
          </a:xfrm>
        </p:grpSpPr>
        <p:pic>
          <p:nvPicPr>
            <p:cNvPr id="7" name="Picture 6" descr="A picture containing shape&#10;&#10;Description automatically generated">
              <a:extLst>
                <a:ext uri="{FF2B5EF4-FFF2-40B4-BE49-F238E27FC236}">
                  <a16:creationId xmlns:a16="http://schemas.microsoft.com/office/drawing/2014/main" id="{7960A7B1-B16A-457B-8185-5CDCE73090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9603" y="2690037"/>
              <a:ext cx="633119" cy="633119"/>
            </a:xfrm>
            <a:prstGeom prst="rect">
              <a:avLst/>
            </a:prstGeom>
          </p:spPr>
        </p:pic>
        <p:pic>
          <p:nvPicPr>
            <p:cNvPr id="8" name="Picture 7" descr="Logo&#10;&#10;Description automatically generated">
              <a:extLst>
                <a:ext uri="{FF2B5EF4-FFF2-40B4-BE49-F238E27FC236}">
                  <a16:creationId xmlns:a16="http://schemas.microsoft.com/office/drawing/2014/main" id="{737FEFBB-C143-40E5-BFD5-290F05C5D5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900" t="20645" r="33826" b="19034"/>
            <a:stretch/>
          </p:blipFill>
          <p:spPr>
            <a:xfrm>
              <a:off x="7280091" y="2700209"/>
              <a:ext cx="469221" cy="622948"/>
            </a:xfrm>
            <a:prstGeom prst="rect">
              <a:avLst/>
            </a:prstGeom>
          </p:spPr>
        </p:pic>
        <p:pic>
          <p:nvPicPr>
            <p:cNvPr id="9" name="Picture 8" descr="Icon&#10;&#10;Description automatically generated">
              <a:extLst>
                <a:ext uri="{FF2B5EF4-FFF2-40B4-BE49-F238E27FC236}">
                  <a16:creationId xmlns:a16="http://schemas.microsoft.com/office/drawing/2014/main" id="{6FB3C5BF-D1D5-4975-8C5E-092BBC61B0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6419" y="2831367"/>
              <a:ext cx="561638" cy="42155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1061848-381F-48F4-8691-4595588C43A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59623" y="2787794"/>
              <a:ext cx="396320" cy="437603"/>
            </a:xfrm>
            <a:prstGeom prst="rect">
              <a:avLst/>
            </a:prstGeom>
          </p:spPr>
        </p:pic>
        <p:sp>
          <p:nvSpPr>
            <p:cNvPr id="11" name="TextBox 16">
              <a:extLst>
                <a:ext uri="{FF2B5EF4-FFF2-40B4-BE49-F238E27FC236}">
                  <a16:creationId xmlns:a16="http://schemas.microsoft.com/office/drawing/2014/main" id="{D5DF3F1E-5B9C-4BCD-BA8F-01D4336E60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13452" y="3294516"/>
              <a:ext cx="884178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eloper</a:t>
              </a:r>
            </a:p>
          </p:txBody>
        </p:sp>
        <p:sp>
          <p:nvSpPr>
            <p:cNvPr id="12" name="TextBox 16">
              <a:extLst>
                <a:ext uri="{FF2B5EF4-FFF2-40B4-BE49-F238E27FC236}">
                  <a16:creationId xmlns:a16="http://schemas.microsoft.com/office/drawing/2014/main" id="{1A92EBBF-1B9E-456E-89BA-0464D65A483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3598" y="3315046"/>
              <a:ext cx="884178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ira</a:t>
              </a:r>
            </a:p>
          </p:txBody>
        </p:sp>
        <p:sp>
          <p:nvSpPr>
            <p:cNvPr id="13" name="TextBox 16">
              <a:extLst>
                <a:ext uri="{FF2B5EF4-FFF2-40B4-BE49-F238E27FC236}">
                  <a16:creationId xmlns:a16="http://schemas.microsoft.com/office/drawing/2014/main" id="{75A947ED-B1EF-4ADD-BDFC-5A8A7746B67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95149" y="3302836"/>
              <a:ext cx="884178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itbucket</a:t>
              </a:r>
            </a:p>
          </p:txBody>
        </p:sp>
        <p:sp>
          <p:nvSpPr>
            <p:cNvPr id="14" name="TextBox 16">
              <a:extLst>
                <a:ext uri="{FF2B5EF4-FFF2-40B4-BE49-F238E27FC236}">
                  <a16:creationId xmlns:a16="http://schemas.microsoft.com/office/drawing/2014/main" id="{1D4C1F30-D564-473E-BACF-697A95747E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73656" y="3294516"/>
              <a:ext cx="884178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enkins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80C9A397-1E4F-4C2C-9D74-959B288A1208}"/>
                </a:ext>
              </a:extLst>
            </p:cNvPr>
            <p:cNvCxnSpPr>
              <a:cxnSpLocks/>
            </p:cNvCxnSpPr>
            <p:nvPr/>
          </p:nvCxnSpPr>
          <p:spPr>
            <a:xfrm>
              <a:off x="1247939" y="3125972"/>
              <a:ext cx="84613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16">
              <a:extLst>
                <a:ext uri="{FF2B5EF4-FFF2-40B4-BE49-F238E27FC236}">
                  <a16:creationId xmlns:a16="http://schemas.microsoft.com/office/drawing/2014/main" id="{78B30264-22C3-4ADF-A128-291F65472BF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37067" y="2611257"/>
              <a:ext cx="978892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cket for user story</a:t>
              </a:r>
            </a:p>
          </p:txBody>
        </p:sp>
        <p:sp>
          <p:nvSpPr>
            <p:cNvPr id="34" name="TextBox 16">
              <a:extLst>
                <a:ext uri="{FF2B5EF4-FFF2-40B4-BE49-F238E27FC236}">
                  <a16:creationId xmlns:a16="http://schemas.microsoft.com/office/drawing/2014/main" id="{D4D0D9B8-F4AC-4B8D-97A6-314677C5DC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58901" y="1898599"/>
              <a:ext cx="2479584" cy="11079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171450" indent="-171450" eaLnBrk="1" hangingPunct="1">
                <a:buFont typeface="Wingdings" panose="05000000000000000000" pitchFamily="2" charset="2"/>
                <a:buChar char="ü"/>
              </a:pPr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 feature branch (Jira ticket)</a:t>
              </a:r>
            </a:p>
            <a:p>
              <a:pPr marL="171450" indent="-171450" eaLnBrk="1" hangingPunct="1">
                <a:buFont typeface="Wingdings" panose="05000000000000000000" pitchFamily="2" charset="2"/>
                <a:buChar char="ü"/>
              </a:pPr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it and push to branch</a:t>
              </a:r>
            </a:p>
            <a:p>
              <a:pPr marL="171450" indent="-171450" eaLnBrk="1" hangingPunct="1">
                <a:buFont typeface="Wingdings" panose="05000000000000000000" pitchFamily="2" charset="2"/>
                <a:buChar char="ü"/>
              </a:pPr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de quality check</a:t>
              </a:r>
            </a:p>
            <a:p>
              <a:pPr marL="171450" indent="-171450" eaLnBrk="1" hangingPunct="1">
                <a:buFont typeface="Wingdings" panose="05000000000000000000" pitchFamily="2" charset="2"/>
                <a:buChar char="ü"/>
              </a:pPr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it-testing</a:t>
              </a:r>
            </a:p>
            <a:p>
              <a:pPr marL="171450" indent="-171450" eaLnBrk="1" hangingPunct="1">
                <a:buFont typeface="Wingdings" panose="05000000000000000000" pitchFamily="2" charset="2"/>
                <a:buChar char="ü"/>
              </a:pPr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er-review</a:t>
              </a:r>
            </a:p>
            <a:p>
              <a:pPr marL="171450" indent="-171450" eaLnBrk="1" hangingPunct="1">
                <a:buFont typeface="Wingdings" panose="05000000000000000000" pitchFamily="2" charset="2"/>
                <a:buChar char="ü"/>
              </a:pPr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rge to main branch</a:t>
              </a: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98450D75-EB95-4B82-AFBB-5A6CE8D2C48F}"/>
                </a:ext>
              </a:extLst>
            </p:cNvPr>
            <p:cNvCxnSpPr>
              <a:cxnSpLocks/>
            </p:cNvCxnSpPr>
            <p:nvPr/>
          </p:nvCxnSpPr>
          <p:spPr>
            <a:xfrm>
              <a:off x="2978251" y="3108251"/>
              <a:ext cx="256023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14F49AE-383B-45B8-AB98-E50B21A110A5}"/>
                </a:ext>
              </a:extLst>
            </p:cNvPr>
            <p:cNvCxnSpPr>
              <a:cxnSpLocks/>
            </p:cNvCxnSpPr>
            <p:nvPr/>
          </p:nvCxnSpPr>
          <p:spPr>
            <a:xfrm>
              <a:off x="6227522" y="3104928"/>
              <a:ext cx="84613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16">
              <a:extLst>
                <a:ext uri="{FF2B5EF4-FFF2-40B4-BE49-F238E27FC236}">
                  <a16:creationId xmlns:a16="http://schemas.microsoft.com/office/drawing/2014/main" id="{E9EB37B6-4FC8-4E79-BC61-E6C7D7D57B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04136" y="2415494"/>
              <a:ext cx="767433" cy="600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igger build on merge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ADB4D15-CF0D-4593-A5DB-18B560AE7D06}"/>
                </a:ext>
              </a:extLst>
            </p:cNvPr>
            <p:cNvGrpSpPr/>
            <p:nvPr/>
          </p:nvGrpSpPr>
          <p:grpSpPr>
            <a:xfrm>
              <a:off x="7857461" y="669849"/>
              <a:ext cx="3436267" cy="4863753"/>
              <a:chOff x="7857461" y="669849"/>
              <a:chExt cx="3436267" cy="4863753"/>
            </a:xfrm>
          </p:grpSpPr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5918E29A-4F2D-456B-89C7-CF154E619E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84782" y="1499191"/>
                <a:ext cx="0" cy="3618524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EF800C2-DCFD-456D-AEAA-768FED1BDFCA}"/>
                  </a:ext>
                </a:extLst>
              </p:cNvPr>
              <p:cNvCxnSpPr/>
              <p:nvPr/>
            </p:nvCxnSpPr>
            <p:spPr>
              <a:xfrm flipH="1">
                <a:off x="7857461" y="3081042"/>
                <a:ext cx="627321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57AC47B0-D83C-434A-B661-78B28A28E2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84782" y="1499191"/>
                <a:ext cx="846134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>
                <a:extLst>
                  <a:ext uri="{FF2B5EF4-FFF2-40B4-BE49-F238E27FC236}">
                    <a16:creationId xmlns:a16="http://schemas.microsoft.com/office/drawing/2014/main" id="{951B82F2-70E5-4DBA-ADFA-3113F5E54D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84782" y="3086986"/>
                <a:ext cx="846134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6" name="Picture 55" descr="Text, logo&#10;&#10;Description automatically generated">
                <a:extLst>
                  <a:ext uri="{FF2B5EF4-FFF2-40B4-BE49-F238E27FC236}">
                    <a16:creationId xmlns:a16="http://schemas.microsoft.com/office/drawing/2014/main" id="{4D3FD130-46EA-4437-9036-E9D058F260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34540" y="1135544"/>
                <a:ext cx="1132467" cy="304800"/>
              </a:xfrm>
              <a:prstGeom prst="rect">
                <a:avLst/>
              </a:prstGeom>
            </p:spPr>
          </p:pic>
          <p:pic>
            <p:nvPicPr>
              <p:cNvPr id="58" name="Picture 57" descr="Logo&#10;&#10;Description automatically generated">
                <a:extLst>
                  <a:ext uri="{FF2B5EF4-FFF2-40B4-BE49-F238E27FC236}">
                    <a16:creationId xmlns:a16="http://schemas.microsoft.com/office/drawing/2014/main" id="{17F28F89-3BF4-4774-820E-0E106AA9D0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34540" y="1522377"/>
                <a:ext cx="1254235" cy="477221"/>
              </a:xfrm>
              <a:prstGeom prst="rect">
                <a:avLst/>
              </a:prstGeom>
            </p:spPr>
          </p:pic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34B172FD-13CE-4AC5-B9DF-5F091D4F3142}"/>
                  </a:ext>
                </a:extLst>
              </p:cNvPr>
              <p:cNvSpPr/>
              <p:nvPr/>
            </p:nvSpPr>
            <p:spPr>
              <a:xfrm>
                <a:off x="9330916" y="669849"/>
                <a:ext cx="1962812" cy="1681848"/>
              </a:xfrm>
              <a:prstGeom prst="rect">
                <a:avLst/>
              </a:prstGeom>
              <a:noFill/>
              <a:ln w="12700">
                <a:solidFill>
                  <a:srgbClr val="5A6B86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dirty="0">
                    <a:solidFill>
                      <a:srgbClr val="5A6B8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est Automation Suites</a:t>
                </a:r>
              </a:p>
            </p:txBody>
          </p:sp>
          <p:sp>
            <p:nvSpPr>
              <p:cNvPr id="61" name="TextBox 16">
                <a:extLst>
                  <a:ext uri="{FF2B5EF4-FFF2-40B4-BE49-F238E27FC236}">
                    <a16:creationId xmlns:a16="http://schemas.microsoft.com/office/drawing/2014/main" id="{6A47442D-1006-4111-B1CE-76C89FD372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575776" y="2047197"/>
                <a:ext cx="1476729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AST / DAST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E1A37FE1-229C-4390-8899-8FCE87DA668C}"/>
                  </a:ext>
                </a:extLst>
              </p:cNvPr>
              <p:cNvSpPr/>
              <p:nvPr/>
            </p:nvSpPr>
            <p:spPr>
              <a:xfrm>
                <a:off x="9319367" y="2570942"/>
                <a:ext cx="1962812" cy="739322"/>
              </a:xfrm>
              <a:prstGeom prst="rect">
                <a:avLst/>
              </a:prstGeom>
              <a:noFill/>
              <a:ln w="12700">
                <a:solidFill>
                  <a:srgbClr val="5A6B86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dirty="0">
                    <a:solidFill>
                      <a:srgbClr val="5A6B8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uild &amp; Deploy</a:t>
                </a:r>
              </a:p>
            </p:txBody>
          </p:sp>
          <p:cxnSp>
            <p:nvCxnSpPr>
              <p:cNvPr id="63" name="Straight Arrow Connector 62">
                <a:extLst>
                  <a:ext uri="{FF2B5EF4-FFF2-40B4-BE49-F238E27FC236}">
                    <a16:creationId xmlns:a16="http://schemas.microsoft.com/office/drawing/2014/main" id="{1240DF2F-8179-46A5-AA7E-606FF1C0A3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03812" y="4176823"/>
                <a:ext cx="815554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09A51EA2-5143-48AA-9312-2774DB9304D1}"/>
                  </a:ext>
                </a:extLst>
              </p:cNvPr>
              <p:cNvSpPr/>
              <p:nvPr/>
            </p:nvSpPr>
            <p:spPr>
              <a:xfrm>
                <a:off x="9319366" y="3468666"/>
                <a:ext cx="1962813" cy="1004092"/>
              </a:xfrm>
              <a:prstGeom prst="rect">
                <a:avLst/>
              </a:prstGeom>
              <a:noFill/>
              <a:ln w="12700">
                <a:solidFill>
                  <a:srgbClr val="5A6B86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dirty="0">
                    <a:solidFill>
                      <a:srgbClr val="5A6B8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mote</a:t>
                </a:r>
              </a:p>
            </p:txBody>
          </p:sp>
          <p:sp>
            <p:nvSpPr>
              <p:cNvPr id="65" name="TextBox 16">
                <a:extLst>
                  <a:ext uri="{FF2B5EF4-FFF2-40B4-BE49-F238E27FC236}">
                    <a16:creationId xmlns:a16="http://schemas.microsoft.com/office/drawing/2014/main" id="{C986B3DF-FB8E-4BA3-9E4E-5F766C96631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639506" y="3886531"/>
                <a:ext cx="1412999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V </a:t>
                </a:r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 UAT</a:t>
                </a:r>
                <a:endPara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TextBox 16">
                <a:extLst>
                  <a:ext uri="{FF2B5EF4-FFF2-40B4-BE49-F238E27FC236}">
                    <a16:creationId xmlns:a16="http://schemas.microsoft.com/office/drawing/2014/main" id="{02158922-5CEE-4AA2-8E0A-A3C61EDB3DC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639506" y="4164434"/>
                <a:ext cx="1412999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AT </a:t>
                </a:r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 Production</a:t>
                </a:r>
                <a:endPara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TextBox 16">
                <a:extLst>
                  <a:ext uri="{FF2B5EF4-FFF2-40B4-BE49-F238E27FC236}">
                    <a16:creationId xmlns:a16="http://schemas.microsoft.com/office/drawing/2014/main" id="{E0580B4F-13B9-43A8-91A1-B17047E6FCF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443582" y="2978371"/>
                <a:ext cx="1737480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V / UAT / Production</a:t>
                </a:r>
              </a:p>
            </p:txBody>
          </p:sp>
          <p:cxnSp>
            <p:nvCxnSpPr>
              <p:cNvPr id="70" name="Straight Arrow Connector 69">
                <a:extLst>
                  <a:ext uri="{FF2B5EF4-FFF2-40B4-BE49-F238E27FC236}">
                    <a16:creationId xmlns:a16="http://schemas.microsoft.com/office/drawing/2014/main" id="{A5A32248-D642-480A-AE78-73C70E4868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84782" y="5117715"/>
                <a:ext cx="846134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BF82AEE6-B714-41BE-AB64-10585B4CB71B}"/>
                  </a:ext>
                </a:extLst>
              </p:cNvPr>
              <p:cNvSpPr/>
              <p:nvPr/>
            </p:nvSpPr>
            <p:spPr>
              <a:xfrm>
                <a:off x="9330916" y="4691406"/>
                <a:ext cx="1962812" cy="842196"/>
              </a:xfrm>
              <a:prstGeom prst="rect">
                <a:avLst/>
              </a:prstGeom>
              <a:noFill/>
              <a:ln w="12700">
                <a:solidFill>
                  <a:srgbClr val="5A6B86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dirty="0">
                    <a:solidFill>
                      <a:srgbClr val="5A6B8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ackup &amp; Restore</a:t>
                </a:r>
              </a:p>
            </p:txBody>
          </p:sp>
          <p:sp>
            <p:nvSpPr>
              <p:cNvPr id="75" name="TextBox 16">
                <a:extLst>
                  <a:ext uri="{FF2B5EF4-FFF2-40B4-BE49-F238E27FC236}">
                    <a16:creationId xmlns:a16="http://schemas.microsoft.com/office/drawing/2014/main" id="{A7C9F50E-5529-4BAA-AE52-57352128AC7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426057" y="5133874"/>
                <a:ext cx="1737480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V / UAT / Produc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938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16">
            <a:extLst>
              <a:ext uri="{FF2B5EF4-FFF2-40B4-BE49-F238E27FC236}">
                <a16:creationId xmlns:a16="http://schemas.microsoft.com/office/drawing/2014/main" id="{E9EB37B6-4FC8-4E79-BC61-E6C7D7D57B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15772" y="2335101"/>
            <a:ext cx="95248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Import </a:t>
            </a:r>
          </a:p>
          <a:p>
            <a:pPr algn="r" eaLnBrk="1" hangingPunct="1"/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Design library </a:t>
            </a:r>
          </a:p>
          <a:p>
            <a:pPr algn="r" eaLnBrk="1" hangingPunct="1"/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from Aegon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1F7DED-7C13-4B6E-B3D5-AC84B884F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33646"/>
          </a:xfrm>
        </p:spPr>
        <p:txBody>
          <a:bodyPr/>
          <a:lstStyle/>
          <a:p>
            <a:r>
              <a:rPr lang="en-GB" dirty="0"/>
              <a:t>UI Component Development Method</a:t>
            </a:r>
          </a:p>
        </p:txBody>
      </p:sp>
      <p:pic>
        <p:nvPicPr>
          <p:cNvPr id="7" name="Picture 6" descr="A picture containing shape&#10;&#10;Description automatically generated">
            <a:extLst>
              <a:ext uri="{FF2B5EF4-FFF2-40B4-BE49-F238E27FC236}">
                <a16:creationId xmlns:a16="http://schemas.microsoft.com/office/drawing/2014/main" id="{7960A7B1-B16A-457B-8185-5CDCE73090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2140" y="3043865"/>
            <a:ext cx="633119" cy="633119"/>
          </a:xfrm>
          <a:prstGeom prst="rect">
            <a:avLst/>
          </a:prstGeom>
        </p:spPr>
      </p:pic>
      <p:sp>
        <p:nvSpPr>
          <p:cNvPr id="14" name="TextBox 16">
            <a:extLst>
              <a:ext uri="{FF2B5EF4-FFF2-40B4-BE49-F238E27FC236}">
                <a16:creationId xmlns:a16="http://schemas.microsoft.com/office/drawing/2014/main" id="{1D4C1F30-D564-473E-BACF-697A95747E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12584" y="3616821"/>
            <a:ext cx="124121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US" altLang="en-US" sz="1100" dirty="0">
                <a:solidFill>
                  <a:srgbClr val="232F3E"/>
                </a:solidFill>
                <a:cs typeface="Calibri" panose="020F0502020204030204" pitchFamily="34" charset="0"/>
              </a:rPr>
              <a:t>DevOps Pipeline</a:t>
            </a:r>
          </a:p>
        </p:txBody>
      </p:sp>
      <p:sp>
        <p:nvSpPr>
          <p:cNvPr id="26" name="TextBox 16">
            <a:extLst>
              <a:ext uri="{FF2B5EF4-FFF2-40B4-BE49-F238E27FC236}">
                <a16:creationId xmlns:a16="http://schemas.microsoft.com/office/drawing/2014/main" id="{78B30264-22C3-4ADF-A128-291F65472B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96658" y="3642737"/>
            <a:ext cx="105586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US" altLang="en-US" sz="1100" dirty="0">
                <a:solidFill>
                  <a:srgbClr val="232F3E"/>
                </a:solidFill>
                <a:cs typeface="Calibri" panose="020F0502020204030204" pitchFamily="34" charset="0"/>
              </a:rPr>
              <a:t>UI Developer</a:t>
            </a: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D4D0D9B8-F4AC-4B8D-97A6-314677C5DC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94230" y="2512621"/>
            <a:ext cx="147315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Develop components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Code quality check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Unit-test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Peer-review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Push code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98450D75-EB95-4B82-AFBB-5A6CE8D2C48F}"/>
              </a:ext>
            </a:extLst>
          </p:cNvPr>
          <p:cNvCxnSpPr>
            <a:cxnSpLocks/>
          </p:cNvCxnSpPr>
          <p:nvPr/>
        </p:nvCxnSpPr>
        <p:spPr>
          <a:xfrm>
            <a:off x="3535128" y="2335101"/>
            <a:ext cx="1" cy="6961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918E29A-4F2D-456B-89C7-CF154E619E55}"/>
              </a:ext>
            </a:extLst>
          </p:cNvPr>
          <p:cNvCxnSpPr>
            <a:cxnSpLocks/>
          </p:cNvCxnSpPr>
          <p:nvPr/>
        </p:nvCxnSpPr>
        <p:spPr>
          <a:xfrm>
            <a:off x="7445838" y="2332810"/>
            <a:ext cx="0" cy="19988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EF800C2-DCFD-456D-AEAA-768FED1BDFCA}"/>
              </a:ext>
            </a:extLst>
          </p:cNvPr>
          <p:cNvCxnSpPr>
            <a:cxnSpLocks/>
          </p:cNvCxnSpPr>
          <p:nvPr/>
        </p:nvCxnSpPr>
        <p:spPr>
          <a:xfrm flipH="1">
            <a:off x="6618915" y="3328129"/>
            <a:ext cx="8269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57AC47B0-D83C-434A-B661-78B28A28E225}"/>
              </a:ext>
            </a:extLst>
          </p:cNvPr>
          <p:cNvCxnSpPr>
            <a:cxnSpLocks/>
          </p:cNvCxnSpPr>
          <p:nvPr/>
        </p:nvCxnSpPr>
        <p:spPr>
          <a:xfrm>
            <a:off x="7448090" y="2332341"/>
            <a:ext cx="84613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951B82F2-70E5-4DBA-ADFA-3113F5E54D1D}"/>
              </a:ext>
            </a:extLst>
          </p:cNvPr>
          <p:cNvCxnSpPr>
            <a:cxnSpLocks/>
          </p:cNvCxnSpPr>
          <p:nvPr/>
        </p:nvCxnSpPr>
        <p:spPr>
          <a:xfrm>
            <a:off x="7445838" y="3334073"/>
            <a:ext cx="84613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34B172FD-13CE-4AC5-B9DF-5F091D4F3142}"/>
              </a:ext>
            </a:extLst>
          </p:cNvPr>
          <p:cNvSpPr/>
          <p:nvPr/>
        </p:nvSpPr>
        <p:spPr>
          <a:xfrm>
            <a:off x="8308750" y="2053662"/>
            <a:ext cx="1099325" cy="562878"/>
          </a:xfrm>
          <a:prstGeom prst="rect">
            <a:avLst/>
          </a:prstGeom>
          <a:noFill/>
          <a:ln w="12700">
            <a:solidFill>
              <a:srgbClr val="5A6B8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5A6B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ion environment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1240DF2F-8179-46A5-AA7E-606FF1C0A322}"/>
              </a:ext>
            </a:extLst>
          </p:cNvPr>
          <p:cNvCxnSpPr>
            <a:cxnSpLocks/>
          </p:cNvCxnSpPr>
          <p:nvPr/>
        </p:nvCxnSpPr>
        <p:spPr>
          <a:xfrm>
            <a:off x="7456479" y="4331631"/>
            <a:ext cx="81555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CAE83AB4-A05E-4CBD-AB95-BFA56F447D2D}"/>
              </a:ext>
            </a:extLst>
          </p:cNvPr>
          <p:cNvSpPr/>
          <p:nvPr/>
        </p:nvSpPr>
        <p:spPr>
          <a:xfrm>
            <a:off x="2985466" y="1654840"/>
            <a:ext cx="1099325" cy="562879"/>
          </a:xfrm>
          <a:prstGeom prst="rect">
            <a:avLst/>
          </a:prstGeom>
          <a:noFill/>
          <a:ln w="12700">
            <a:solidFill>
              <a:srgbClr val="5A6B8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EGON AXLE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 System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9BF58524-ABC8-4B28-930B-C1418FAF4084}"/>
              </a:ext>
            </a:extLst>
          </p:cNvPr>
          <p:cNvCxnSpPr>
            <a:cxnSpLocks/>
          </p:cNvCxnSpPr>
          <p:nvPr/>
        </p:nvCxnSpPr>
        <p:spPr>
          <a:xfrm flipV="1">
            <a:off x="4020995" y="3352023"/>
            <a:ext cx="1819620" cy="24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12" descr="See the source image">
            <a:extLst>
              <a:ext uri="{FF2B5EF4-FFF2-40B4-BE49-F238E27FC236}">
                <a16:creationId xmlns:a16="http://schemas.microsoft.com/office/drawing/2014/main" id="{7AF391D5-191D-4EDD-BC22-FBC86523C8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837" y="3043865"/>
            <a:ext cx="472879" cy="508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239797D5-1375-4989-97D5-390715709310}"/>
              </a:ext>
            </a:extLst>
          </p:cNvPr>
          <p:cNvSpPr/>
          <p:nvPr/>
        </p:nvSpPr>
        <p:spPr>
          <a:xfrm>
            <a:off x="8308749" y="3064537"/>
            <a:ext cx="1099325" cy="562878"/>
          </a:xfrm>
          <a:prstGeom prst="rect">
            <a:avLst/>
          </a:prstGeom>
          <a:noFill/>
          <a:ln w="12700">
            <a:solidFill>
              <a:srgbClr val="5A6B8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5A6B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ging environmen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E2A10B7-7F5C-47A5-8D9A-42C6C8EE5021}"/>
              </a:ext>
            </a:extLst>
          </p:cNvPr>
          <p:cNvSpPr/>
          <p:nvPr/>
        </p:nvSpPr>
        <p:spPr>
          <a:xfrm>
            <a:off x="8308144" y="4055575"/>
            <a:ext cx="1099325" cy="562878"/>
          </a:xfrm>
          <a:prstGeom prst="rect">
            <a:avLst/>
          </a:prstGeom>
          <a:noFill/>
          <a:ln w="12700">
            <a:solidFill>
              <a:srgbClr val="5A6B8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5A6B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 &amp; Test environment</a:t>
            </a:r>
          </a:p>
        </p:txBody>
      </p:sp>
      <p:sp>
        <p:nvSpPr>
          <p:cNvPr id="55" name="TextBox 16">
            <a:extLst>
              <a:ext uri="{FF2B5EF4-FFF2-40B4-BE49-F238E27FC236}">
                <a16:creationId xmlns:a16="http://schemas.microsoft.com/office/drawing/2014/main" id="{785DE6CD-B8C4-4491-A0EE-04FA0D6C4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30667" y="2729420"/>
            <a:ext cx="76743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Build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Test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000" dirty="0">
                <a:solidFill>
                  <a:srgbClr val="232F3E"/>
                </a:solidFill>
                <a:cs typeface="Calibri" panose="020F0502020204030204" pitchFamily="34" charset="0"/>
              </a:rPr>
              <a:t>Deploy</a:t>
            </a:r>
          </a:p>
        </p:txBody>
      </p:sp>
    </p:spTree>
    <p:extLst>
      <p:ext uri="{BB962C8B-B14F-4D97-AF65-F5344CB8AC3E}">
        <p14:creationId xmlns:p14="http://schemas.microsoft.com/office/powerpoint/2010/main" val="232227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F7DED-7C13-4B6E-B3D5-AC84B884F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33646"/>
          </a:xfrm>
        </p:spPr>
        <p:txBody>
          <a:bodyPr/>
          <a:lstStyle/>
          <a:p>
            <a:r>
              <a:rPr lang="en-GB" dirty="0"/>
              <a:t>ADX – Analytics Integr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40284C0-57DD-4280-92C7-C429B150BB91}"/>
              </a:ext>
            </a:extLst>
          </p:cNvPr>
          <p:cNvGrpSpPr/>
          <p:nvPr/>
        </p:nvGrpSpPr>
        <p:grpSpPr>
          <a:xfrm>
            <a:off x="1068715" y="3805661"/>
            <a:ext cx="1550355" cy="883330"/>
            <a:chOff x="3555980" y="2502719"/>
            <a:chExt cx="1550355" cy="883330"/>
          </a:xfrm>
        </p:grpSpPr>
        <p:pic>
          <p:nvPicPr>
            <p:cNvPr id="43" name="Picture 24" descr="See the source image">
              <a:extLst>
                <a:ext uri="{FF2B5EF4-FFF2-40B4-BE49-F238E27FC236}">
                  <a16:creationId xmlns:a16="http://schemas.microsoft.com/office/drawing/2014/main" id="{96C8C58F-F768-436C-BBD4-350C540C3B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3268" y="2781140"/>
              <a:ext cx="354060" cy="3805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96461CA8-F62C-4935-A483-A27CD9CBBCD2}"/>
                </a:ext>
              </a:extLst>
            </p:cNvPr>
            <p:cNvSpPr txBox="1"/>
            <p:nvPr/>
          </p:nvSpPr>
          <p:spPr>
            <a:xfrm>
              <a:off x="3737853" y="2515743"/>
              <a:ext cx="111229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X component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F9AEF29-0D1E-410E-A64A-5A0C8F3F47E3}"/>
                </a:ext>
              </a:extLst>
            </p:cNvPr>
            <p:cNvSpPr txBox="1"/>
            <p:nvPr/>
          </p:nvSpPr>
          <p:spPr>
            <a:xfrm>
              <a:off x="4105940" y="3176728"/>
              <a:ext cx="484107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gular</a:t>
              </a: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194F3572-AA0D-4D9F-8A97-CC1E11825FB6}"/>
                </a:ext>
              </a:extLst>
            </p:cNvPr>
            <p:cNvSpPr/>
            <p:nvPr/>
          </p:nvSpPr>
          <p:spPr>
            <a:xfrm>
              <a:off x="3555980" y="2502719"/>
              <a:ext cx="1550355" cy="883330"/>
            </a:xfrm>
            <a:prstGeom prst="round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525DE43-1702-410D-8C46-5A079C7FB3FD}"/>
              </a:ext>
            </a:extLst>
          </p:cNvPr>
          <p:cNvGrpSpPr/>
          <p:nvPr/>
        </p:nvGrpSpPr>
        <p:grpSpPr>
          <a:xfrm>
            <a:off x="8991715" y="2979392"/>
            <a:ext cx="1955761" cy="2047917"/>
            <a:chOff x="5744398" y="2974118"/>
            <a:chExt cx="1955761" cy="2047917"/>
          </a:xfrm>
        </p:grpSpPr>
        <p:pic>
          <p:nvPicPr>
            <p:cNvPr id="76" name="Picture 22" descr="See the source image">
              <a:extLst>
                <a:ext uri="{FF2B5EF4-FFF2-40B4-BE49-F238E27FC236}">
                  <a16:creationId xmlns:a16="http://schemas.microsoft.com/office/drawing/2014/main" id="{1ECA6CF3-1821-4D88-952D-5A8A99F174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4398" y="2974118"/>
              <a:ext cx="1955761" cy="20479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9537332D-758A-4DEB-B13F-D5BDD16C4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94215" y="3605894"/>
              <a:ext cx="629576" cy="629576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D699E8F-96BD-483C-9204-C38BB231711C}"/>
                </a:ext>
              </a:extLst>
            </p:cNvPr>
            <p:cNvSpPr txBox="1"/>
            <p:nvPr/>
          </p:nvSpPr>
          <p:spPr>
            <a:xfrm>
              <a:off x="6183635" y="4328939"/>
              <a:ext cx="10507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obe Analytic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7B4BD6E-221E-418A-82EE-FEECEFB8D3DA}"/>
              </a:ext>
            </a:extLst>
          </p:cNvPr>
          <p:cNvGrpSpPr/>
          <p:nvPr/>
        </p:nvGrpSpPr>
        <p:grpSpPr>
          <a:xfrm>
            <a:off x="866013" y="1298956"/>
            <a:ext cx="1955761" cy="2047917"/>
            <a:chOff x="2959215" y="2821719"/>
            <a:chExt cx="1955761" cy="2047917"/>
          </a:xfrm>
        </p:grpSpPr>
        <p:pic>
          <p:nvPicPr>
            <p:cNvPr id="55" name="Picture 22" descr="See the source image">
              <a:extLst>
                <a:ext uri="{FF2B5EF4-FFF2-40B4-BE49-F238E27FC236}">
                  <a16:creationId xmlns:a16="http://schemas.microsoft.com/office/drawing/2014/main" id="{5E1D35A2-48A0-4217-80D4-5115C40A1F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9215" y="2821719"/>
              <a:ext cx="1955761" cy="20479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A574277-92C3-43E3-881B-B6ECA0C493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98509" y="3407734"/>
              <a:ext cx="789163" cy="808892"/>
            </a:xfrm>
            <a:prstGeom prst="rect">
              <a:avLst/>
            </a:prstGeom>
          </p:spPr>
        </p:pic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91385C5-ED9A-41A9-A3CD-AA1910CF083C}"/>
                </a:ext>
              </a:extLst>
            </p:cNvPr>
            <p:cNvSpPr txBox="1"/>
            <p:nvPr/>
          </p:nvSpPr>
          <p:spPr>
            <a:xfrm>
              <a:off x="3319570" y="4203571"/>
              <a:ext cx="115471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obe Launch</a:t>
              </a:r>
            </a:p>
          </p:txBody>
        </p:sp>
      </p:grpSp>
      <p:sp>
        <p:nvSpPr>
          <p:cNvPr id="77" name="TextBox 16">
            <a:extLst>
              <a:ext uri="{FF2B5EF4-FFF2-40B4-BE49-F238E27FC236}">
                <a16:creationId xmlns:a16="http://schemas.microsoft.com/office/drawing/2014/main" id="{0A1CE07E-B3DE-4A91-BB3C-574AF42B13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3819" y="1973430"/>
            <a:ext cx="258638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200" dirty="0">
                <a:solidFill>
                  <a:srgbClr val="232F3E"/>
                </a:solidFill>
                <a:cs typeface="Calibri" panose="020F0502020204030204" pitchFamily="34" charset="0"/>
              </a:rPr>
              <a:t>Define Tags, Events and rules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200" dirty="0">
                <a:solidFill>
                  <a:srgbClr val="232F3E"/>
                </a:solidFill>
                <a:latin typeface="Arial" panose="020B0604020202020204" pitchFamily="34" charset="0"/>
                <a:cs typeface="Calibri" panose="020F0502020204030204" pitchFamily="34" charset="0"/>
              </a:rPr>
              <a:t>Generate Launch code that acts as an agent or Adobe Analytics</a:t>
            </a:r>
            <a:endParaRPr lang="en-US" altLang="en-US" sz="1200" dirty="0">
              <a:solidFill>
                <a:srgbClr val="232F3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16">
            <a:extLst>
              <a:ext uri="{FF2B5EF4-FFF2-40B4-BE49-F238E27FC236}">
                <a16:creationId xmlns:a16="http://schemas.microsoft.com/office/drawing/2014/main" id="{C4161314-34DF-4D66-BEB9-613D2845E6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0063" y="3180592"/>
            <a:ext cx="14715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rgbClr val="232F3E"/>
                </a:solidFill>
                <a:cs typeface="Calibri" panose="020F0502020204030204" pitchFamily="34" charset="0"/>
              </a:rPr>
              <a:t>Import Launch code</a:t>
            </a:r>
            <a:endParaRPr lang="en-US" altLang="en-US" sz="1200" b="1" i="1" dirty="0">
              <a:solidFill>
                <a:srgbClr val="232F3E"/>
              </a:solidFill>
              <a:cs typeface="Calibri" panose="020F0502020204030204" pitchFamily="34" charset="0"/>
            </a:endParaRP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65FFCB20-0CB7-4433-AA3C-637E2665411E}"/>
              </a:ext>
            </a:extLst>
          </p:cNvPr>
          <p:cNvCxnSpPr>
            <a:cxnSpLocks/>
          </p:cNvCxnSpPr>
          <p:nvPr/>
        </p:nvCxnSpPr>
        <p:spPr>
          <a:xfrm>
            <a:off x="1813629" y="3085769"/>
            <a:ext cx="0" cy="5222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513BBAC8-0AE3-4A11-99DF-09A7734B611C}"/>
              </a:ext>
            </a:extLst>
          </p:cNvPr>
          <p:cNvCxnSpPr>
            <a:cxnSpLocks/>
          </p:cNvCxnSpPr>
          <p:nvPr/>
        </p:nvCxnSpPr>
        <p:spPr>
          <a:xfrm>
            <a:off x="2739012" y="4277055"/>
            <a:ext cx="26511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16">
            <a:extLst>
              <a:ext uri="{FF2B5EF4-FFF2-40B4-BE49-F238E27FC236}">
                <a16:creationId xmlns:a16="http://schemas.microsoft.com/office/drawing/2014/main" id="{D30DA38E-0338-4FD1-8BE9-2C4BE66A56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21774" y="3717314"/>
            <a:ext cx="231116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200" dirty="0">
                <a:solidFill>
                  <a:srgbClr val="232F3E"/>
                </a:solidFill>
                <a:cs typeface="Calibri" panose="020F0502020204030204" pitchFamily="34" charset="0"/>
              </a:rPr>
              <a:t>Develop UI with Analytics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en-US" sz="1200" dirty="0">
                <a:solidFill>
                  <a:srgbClr val="232F3E"/>
                </a:solidFill>
                <a:cs typeface="Calibri" panose="020F0502020204030204" pitchFamily="34" charset="0"/>
              </a:rPr>
              <a:t>Deploy to hosting environment</a:t>
            </a:r>
          </a:p>
        </p:txBody>
      </p:sp>
      <p:pic>
        <p:nvPicPr>
          <p:cNvPr id="83" name="Picture 82" descr="Graphical user interface&#10;&#10;Description automatically generated">
            <a:extLst>
              <a:ext uri="{FF2B5EF4-FFF2-40B4-BE49-F238E27FC236}">
                <a16:creationId xmlns:a16="http://schemas.microsoft.com/office/drawing/2014/main" id="{D233AA9A-AD69-4692-B454-AA1977BB4E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9076" y="3829917"/>
            <a:ext cx="1193879" cy="809274"/>
          </a:xfrm>
          <a:prstGeom prst="rect">
            <a:avLst/>
          </a:prstGeom>
        </p:spPr>
      </p:pic>
      <p:sp>
        <p:nvSpPr>
          <p:cNvPr id="84" name="TextBox 16">
            <a:extLst>
              <a:ext uri="{FF2B5EF4-FFF2-40B4-BE49-F238E27FC236}">
                <a16:creationId xmlns:a16="http://schemas.microsoft.com/office/drawing/2014/main" id="{CA7545D4-81FD-4DED-BD0C-D82B4A83BE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9971" y="4690154"/>
            <a:ext cx="147152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US" altLang="en-US" sz="1200" dirty="0">
                <a:solidFill>
                  <a:srgbClr val="232F3E"/>
                </a:solidFill>
                <a:cs typeface="Calibri" panose="020F0502020204030204" pitchFamily="34" charset="0"/>
              </a:rPr>
              <a:t>Web portal with ADX components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41BCC40-D0B9-4E5B-BF54-D5078ED8000D}"/>
              </a:ext>
            </a:extLst>
          </p:cNvPr>
          <p:cNvCxnSpPr>
            <a:cxnSpLocks/>
          </p:cNvCxnSpPr>
          <p:nvPr/>
        </p:nvCxnSpPr>
        <p:spPr>
          <a:xfrm>
            <a:off x="6892824" y="4234554"/>
            <a:ext cx="198536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16">
            <a:extLst>
              <a:ext uri="{FF2B5EF4-FFF2-40B4-BE49-F238E27FC236}">
                <a16:creationId xmlns:a16="http://schemas.microsoft.com/office/drawing/2014/main" id="{AEFC6442-B077-44C9-B2CF-21CD17ED6C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10437" y="3622417"/>
            <a:ext cx="19379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rgbClr val="232F3E"/>
                </a:solidFill>
                <a:cs typeface="Calibri" panose="020F0502020204030204" pitchFamily="34" charset="0"/>
              </a:rPr>
              <a:t>Portal sends data to Adobe Analytics Cloud Service</a:t>
            </a:r>
          </a:p>
        </p:txBody>
      </p:sp>
    </p:spTree>
    <p:extLst>
      <p:ext uri="{BB962C8B-B14F-4D97-AF65-F5344CB8AC3E}">
        <p14:creationId xmlns:p14="http://schemas.microsoft.com/office/powerpoint/2010/main" val="3324910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7B6B80C-88A0-4916-B09D-C756C6666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1180618"/>
          </a:xfrm>
        </p:spPr>
        <p:txBody>
          <a:bodyPr anchor="b">
            <a:normAutofit/>
          </a:bodyPr>
          <a:lstStyle/>
          <a:p>
            <a:r>
              <a:rPr lang="en-GB" dirty="0"/>
              <a:t>Main featur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D79EEC7-EFAD-642F-538A-149088AD1D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</p:spPr>
        <p:txBody>
          <a:bodyPr/>
          <a:lstStyle/>
          <a:p>
            <a:r>
              <a:rPr lang="en-US" dirty="0"/>
              <a:t>Adobe Experience Cloud</a:t>
            </a:r>
          </a:p>
        </p:txBody>
      </p:sp>
      <p:pic>
        <p:nvPicPr>
          <p:cNvPr id="7" name="Picture Placeholder 6" descr="Man in a storage facility">
            <a:extLst>
              <a:ext uri="{FF2B5EF4-FFF2-40B4-BE49-F238E27FC236}">
                <a16:creationId xmlns:a16="http://schemas.microsoft.com/office/drawing/2014/main" id="{48CC9E31-1319-4595-A9A2-294D12FB96D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48" b="3448"/>
          <a:stretch>
            <a:fillRect/>
          </a:stretch>
        </p:blipFill>
        <p:spPr>
          <a:xfrm>
            <a:off x="3184586" y="1986646"/>
            <a:ext cx="5767390" cy="3579330"/>
          </a:xfrm>
        </p:spPr>
      </p:pic>
    </p:spTree>
    <p:extLst>
      <p:ext uri="{BB962C8B-B14F-4D97-AF65-F5344CB8AC3E}">
        <p14:creationId xmlns:p14="http://schemas.microsoft.com/office/powerpoint/2010/main" val="1451578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38101"/>
            <a:ext cx="10515600" cy="630188"/>
          </a:xfrm>
        </p:spPr>
        <p:txBody>
          <a:bodyPr/>
          <a:lstStyle/>
          <a:p>
            <a:r>
              <a:rPr lang="en-US" dirty="0"/>
              <a:t>Experience personalis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type="body" sz="quarter" idx="10"/>
          </p:nvPr>
        </p:nvSpPr>
        <p:spPr>
          <a:xfrm>
            <a:off x="579437" y="6138841"/>
            <a:ext cx="9507537" cy="63018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obe Target can dynamically render personalized variations for the experiences</a:t>
            </a:r>
            <a:r>
              <a:rPr lang="en-US" sz="1400" i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0" dirty="0">
                <a:latin typeface="Calibri" panose="020F0502020204030204" pitchFamily="34" charset="0"/>
                <a:cs typeface="Calibri" panose="020F0502020204030204" pitchFamily="34" charset="0"/>
              </a:rPr>
              <a:t>V</a:t>
            </a:r>
            <a:r>
              <a:rPr lang="en-US" sz="1400" b="0" i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iations </a:t>
            </a:r>
            <a:r>
              <a:rPr lang="en-US" sz="1400" i="0" dirty="0">
                <a:latin typeface="Calibri" panose="020F0502020204030204" pitchFamily="34" charset="0"/>
                <a:cs typeface="Calibri" panose="020F0502020204030204" pitchFamily="34" charset="0"/>
              </a:rPr>
              <a:t>can be based on criteria like user profile, demography, search query, Aegon API response, etc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F89ED1A-CCC6-42A4-99F6-805882B99F7C}"/>
              </a:ext>
            </a:extLst>
          </p:cNvPr>
          <p:cNvGrpSpPr/>
          <p:nvPr/>
        </p:nvGrpSpPr>
        <p:grpSpPr>
          <a:xfrm>
            <a:off x="646113" y="828335"/>
            <a:ext cx="4700588" cy="5032104"/>
            <a:chOff x="5533524" y="387621"/>
            <a:chExt cx="4700588" cy="5032104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5EA54A64-0DB7-44BB-BB66-0B8B4BBB03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533524" y="387621"/>
              <a:ext cx="4687555" cy="782434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81A371D4-55BE-4D2D-BDBB-C6D697EDFAC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33524" y="1343517"/>
              <a:ext cx="4700588" cy="897926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AAA30E5D-4AD3-4994-9A5E-44AA61E930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533525" y="2388034"/>
              <a:ext cx="4671050" cy="3031691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45C6F51-56D0-4CA7-ADF9-ABEAD759E021}"/>
              </a:ext>
            </a:extLst>
          </p:cNvPr>
          <p:cNvGrpSpPr/>
          <p:nvPr/>
        </p:nvGrpSpPr>
        <p:grpSpPr>
          <a:xfrm>
            <a:off x="6496050" y="892639"/>
            <a:ext cx="4700588" cy="5021852"/>
            <a:chOff x="6394450" y="447686"/>
            <a:chExt cx="4700588" cy="502185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2AD3A15-A316-4C36-93C0-7D60B5C22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94450" y="447686"/>
              <a:ext cx="4687555" cy="782434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E0B72435-6051-4EB6-85EF-1975AC3F1DB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94450" y="1403582"/>
              <a:ext cx="4700588" cy="897926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7510C287-09DE-4B17-B40E-84151EEEF4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97958" y="2431390"/>
              <a:ext cx="4684047" cy="3038148"/>
            </a:xfrm>
            <a:prstGeom prst="rect">
              <a:avLst/>
            </a:prstGeom>
          </p:spPr>
        </p:pic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0E5D5F7-6FE4-42D7-BF70-E62714A73EB4}"/>
              </a:ext>
            </a:extLst>
          </p:cNvPr>
          <p:cNvCxnSpPr>
            <a:cxnSpLocks/>
          </p:cNvCxnSpPr>
          <p:nvPr/>
        </p:nvCxnSpPr>
        <p:spPr>
          <a:xfrm>
            <a:off x="5953125" y="1248819"/>
            <a:ext cx="0" cy="44471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6311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109455"/>
            <a:ext cx="10515600" cy="536877"/>
          </a:xfrm>
        </p:spPr>
        <p:txBody>
          <a:bodyPr/>
          <a:lstStyle/>
          <a:p>
            <a:r>
              <a:rPr lang="en-US" dirty="0"/>
              <a:t>Customer journey orchestratio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5278" y="2331747"/>
            <a:ext cx="169961" cy="284667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1509537" y="2313094"/>
            <a:ext cx="930804" cy="949936"/>
            <a:chOff x="3009182" y="2901413"/>
            <a:chExt cx="1170360" cy="1194414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5271" y="2901413"/>
              <a:ext cx="855839" cy="855839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3009182" y="3786238"/>
              <a:ext cx="1170360" cy="3095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4373"/>
              <a:r>
                <a:rPr lang="en-US" sz="10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ocial Media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2109622" y="3620535"/>
            <a:ext cx="10780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obe </a:t>
            </a:r>
          </a:p>
          <a:p>
            <a:pPr defTabSz="894373"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ing Cloud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4849" y="4982016"/>
            <a:ext cx="400179" cy="400179"/>
          </a:xfrm>
          <a:prstGeom prst="rect">
            <a:avLst/>
          </a:prstGeom>
        </p:spPr>
      </p:pic>
      <p:cxnSp>
        <p:nvCxnSpPr>
          <p:cNvPr id="13" name="Straight Arrow Connector 12"/>
          <p:cNvCxnSpPr>
            <a:stCxn id="8" idx="2"/>
          </p:cNvCxnSpPr>
          <p:nvPr/>
        </p:nvCxnSpPr>
        <p:spPr>
          <a:xfrm flipH="1">
            <a:off x="1974939" y="3263031"/>
            <a:ext cx="1" cy="299645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1968275" y="3316454"/>
            <a:ext cx="1284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Identify Prospects</a:t>
            </a:r>
          </a:p>
        </p:txBody>
      </p:sp>
      <p:cxnSp>
        <p:nvCxnSpPr>
          <p:cNvPr id="15" name="Straight Arrow Connector 14"/>
          <p:cNvCxnSpPr>
            <a:cxnSpLocks/>
            <a:endCxn id="12" idx="0"/>
          </p:cNvCxnSpPr>
          <p:nvPr/>
        </p:nvCxnSpPr>
        <p:spPr>
          <a:xfrm>
            <a:off x="1974938" y="4063478"/>
            <a:ext cx="1" cy="918538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pic>
        <p:nvPicPr>
          <p:cNvPr id="16" name="Pictur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790" y="1446899"/>
            <a:ext cx="531090" cy="574657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968274" y="4743120"/>
            <a:ext cx="1422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Trigger Referra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58469" y="1601194"/>
            <a:ext cx="7210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373"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spects</a:t>
            </a:r>
          </a:p>
        </p:txBody>
      </p:sp>
      <p:cxnSp>
        <p:nvCxnSpPr>
          <p:cNvPr id="19" name="Straight Arrow Connector 18"/>
          <p:cNvCxnSpPr>
            <a:stCxn id="16" idx="2"/>
            <a:endCxn id="7" idx="0"/>
          </p:cNvCxnSpPr>
          <p:nvPr/>
        </p:nvCxnSpPr>
        <p:spPr>
          <a:xfrm>
            <a:off x="1918336" y="2021556"/>
            <a:ext cx="1" cy="291539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grpSp>
        <p:nvGrpSpPr>
          <p:cNvPr id="20" name="Group 19"/>
          <p:cNvGrpSpPr/>
          <p:nvPr/>
        </p:nvGrpSpPr>
        <p:grpSpPr>
          <a:xfrm>
            <a:off x="1520890" y="4216217"/>
            <a:ext cx="1604510" cy="611750"/>
            <a:chOff x="807124" y="3674071"/>
            <a:chExt cx="1604510" cy="611750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7214" y="3674071"/>
              <a:ext cx="507916" cy="507916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1333615" y="3710671"/>
              <a:ext cx="107801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4373"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usiness /</a:t>
              </a:r>
            </a:p>
            <a:p>
              <a:pPr algn="ctr" defTabSz="894373"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gents</a:t>
              </a: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9007" y="3777905"/>
              <a:ext cx="507916" cy="507916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124" y="3750271"/>
              <a:ext cx="507916" cy="507916"/>
            </a:xfrm>
            <a:prstGeom prst="rect">
              <a:avLst/>
            </a:prstGeom>
          </p:spPr>
        </p:pic>
      </p:grpSp>
      <p:cxnSp>
        <p:nvCxnSpPr>
          <p:cNvPr id="25" name="Elbow Connector 24"/>
          <p:cNvCxnSpPr>
            <a:stCxn id="12" idx="1"/>
            <a:endCxn id="16" idx="1"/>
          </p:cNvCxnSpPr>
          <p:nvPr/>
        </p:nvCxnSpPr>
        <p:spPr>
          <a:xfrm rot="10800000">
            <a:off x="1652790" y="1734227"/>
            <a:ext cx="122058" cy="3447878"/>
          </a:xfrm>
          <a:prstGeom prst="bentConnector3">
            <a:avLst>
              <a:gd name="adj1" fmla="val 271349"/>
            </a:avLst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678941" y="3316455"/>
            <a:ext cx="903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 Referral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3252324" y="1612274"/>
            <a:ext cx="0" cy="3696428"/>
          </a:xfrm>
          <a:prstGeom prst="line">
            <a:avLst/>
          </a:prstGeom>
          <a:noFill/>
          <a:ln w="10000" cap="flat" cmpd="sng" algn="ctr">
            <a:solidFill>
              <a:srgbClr val="C1D82F"/>
            </a:solidFill>
            <a:prstDash val="lgDash"/>
          </a:ln>
          <a:effectLst/>
        </p:spPr>
      </p:cxnSp>
      <p:sp>
        <p:nvSpPr>
          <p:cNvPr id="28" name="TextBox 27"/>
          <p:cNvSpPr txBox="1"/>
          <p:nvPr/>
        </p:nvSpPr>
        <p:spPr>
          <a:xfrm>
            <a:off x="3221991" y="2220202"/>
            <a:ext cx="127544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-channel</a:t>
            </a:r>
          </a:p>
          <a:p>
            <a:pPr defTabSz="894373">
              <a:defRPr/>
            </a:pPr>
            <a:r>
              <a:rPr lang="en-US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versations </a:t>
            </a: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 insights:</a:t>
            </a:r>
          </a:p>
          <a:p>
            <a:pPr marL="171450" indent="-171450" defTabSz="894373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ests</a:t>
            </a:r>
          </a:p>
          <a:p>
            <a:pPr marL="171450" indent="-171450" defTabSz="894373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festyle</a:t>
            </a:r>
          </a:p>
          <a:p>
            <a:pPr marL="171450" indent="-171450" defTabSz="894373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ximity</a:t>
            </a:r>
          </a:p>
          <a:p>
            <a:pPr marL="171450" indent="-171450" defTabSz="894373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mography</a:t>
            </a:r>
          </a:p>
        </p:txBody>
      </p:sp>
      <p:cxnSp>
        <p:nvCxnSpPr>
          <p:cNvPr id="30" name="Straight Arrow Connector 29"/>
          <p:cNvCxnSpPr/>
          <p:nvPr/>
        </p:nvCxnSpPr>
        <p:spPr>
          <a:xfrm>
            <a:off x="2291837" y="1808045"/>
            <a:ext cx="1262408" cy="0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grpSp>
        <p:nvGrpSpPr>
          <p:cNvPr id="31" name="Group 30"/>
          <p:cNvGrpSpPr/>
          <p:nvPr/>
        </p:nvGrpSpPr>
        <p:grpSpPr>
          <a:xfrm>
            <a:off x="3586044" y="1576805"/>
            <a:ext cx="1466090" cy="547850"/>
            <a:chOff x="3154382" y="1034659"/>
            <a:chExt cx="1466090" cy="547850"/>
          </a:xfrm>
        </p:grpSpPr>
        <p:sp>
          <p:nvSpPr>
            <p:cNvPr id="32" name="object 50"/>
            <p:cNvSpPr/>
            <p:nvPr/>
          </p:nvSpPr>
          <p:spPr>
            <a:xfrm>
              <a:off x="3651294" y="1090330"/>
              <a:ext cx="623987" cy="46422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894373">
                <a:defRPr/>
              </a:pPr>
              <a:endParaRPr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13705" y="1080484"/>
              <a:ext cx="238824" cy="400005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3566" y="1115930"/>
              <a:ext cx="397976" cy="397977"/>
            </a:xfrm>
            <a:prstGeom prst="rect">
              <a:avLst/>
            </a:prstGeom>
          </p:spPr>
        </p:pic>
        <p:sp>
          <p:nvSpPr>
            <p:cNvPr id="35" name="Rounded Rectangle 34"/>
            <p:cNvSpPr/>
            <p:nvPr/>
          </p:nvSpPr>
          <p:spPr>
            <a:xfrm>
              <a:off x="3154382" y="1034659"/>
              <a:ext cx="1466090" cy="547850"/>
            </a:xfrm>
            <a:prstGeom prst="roundRect">
              <a:avLst/>
            </a:prstGeom>
            <a:noFill/>
            <a:ln w="3175" cap="flat" cmpd="sng" algn="ctr">
              <a:solidFill>
                <a:srgbClr val="C1D82F">
                  <a:shade val="50000"/>
                </a:srgbClr>
              </a:solidFill>
              <a:prstDash val="dash"/>
            </a:ln>
            <a:effectLst/>
          </p:spPr>
          <p:txBody>
            <a:bodyPr rtlCol="0" anchor="ctr"/>
            <a:lstStyle/>
            <a:p>
              <a:pPr algn="ctr" defTabSz="894373">
                <a:defRPr/>
              </a:pPr>
              <a:endParaRPr lang="en-US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36" name="Picture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2194" y="4452872"/>
            <a:ext cx="507916" cy="507916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4083627" y="4968401"/>
            <a:ext cx="8343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373"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/</a:t>
            </a:r>
          </a:p>
          <a:p>
            <a:pPr algn="ctr" defTabSz="894373"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nts</a:t>
            </a: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987" y="4556706"/>
            <a:ext cx="507916" cy="507916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104" y="4529072"/>
            <a:ext cx="507916" cy="507916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4580020" y="2478704"/>
            <a:ext cx="19886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xt-Best-Actions </a:t>
            </a: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iggered </a:t>
            </a:r>
          </a:p>
          <a:p>
            <a:pPr defTabSz="894373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the Prospects, based on the insights and the defined Business rules</a:t>
            </a:r>
          </a:p>
        </p:txBody>
      </p:sp>
      <p:cxnSp>
        <p:nvCxnSpPr>
          <p:cNvPr id="41" name="Straight Arrow Connector 40"/>
          <p:cNvCxnSpPr/>
          <p:nvPr/>
        </p:nvCxnSpPr>
        <p:spPr>
          <a:xfrm>
            <a:off x="4374056" y="2196955"/>
            <a:ext cx="0" cy="1344811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42" name="Straight Arrow Connector 41"/>
          <p:cNvCxnSpPr/>
          <p:nvPr/>
        </p:nvCxnSpPr>
        <p:spPr>
          <a:xfrm flipV="1">
            <a:off x="4581523" y="2166535"/>
            <a:ext cx="0" cy="1344811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43" name="TextBox 42"/>
          <p:cNvSpPr txBox="1"/>
          <p:nvPr/>
        </p:nvSpPr>
        <p:spPr>
          <a:xfrm>
            <a:off x="4706944" y="4032701"/>
            <a:ext cx="227055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-driven Marketing</a:t>
            </a:r>
          </a:p>
          <a:p>
            <a:pPr marL="171450" indent="-171450" defTabSz="894373">
              <a:buFont typeface="Wingdings" panose="05000000000000000000" pitchFamily="2" charset="2"/>
              <a:buChar char="ü"/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60-degree view on Customer</a:t>
            </a:r>
          </a:p>
          <a:p>
            <a:pPr marL="171450" indent="-171450" defTabSz="894373">
              <a:buFont typeface="Wingdings" panose="05000000000000000000" pitchFamily="2" charset="2"/>
              <a:buChar char="ü"/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action History</a:t>
            </a:r>
          </a:p>
          <a:p>
            <a:pPr marL="171450" indent="-171450" defTabSz="894373">
              <a:buFont typeface="Wingdings" panose="05000000000000000000" pitchFamily="2" charset="2"/>
              <a:buChar char="ü"/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aged Outbound Communication</a:t>
            </a: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4494788" y="4146648"/>
            <a:ext cx="1" cy="291539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45" name="Straight Connector 44"/>
          <p:cNvCxnSpPr/>
          <p:nvPr/>
        </p:nvCxnSpPr>
        <p:spPr>
          <a:xfrm>
            <a:off x="6977502" y="1632476"/>
            <a:ext cx="0" cy="3696428"/>
          </a:xfrm>
          <a:prstGeom prst="line">
            <a:avLst/>
          </a:prstGeom>
          <a:noFill/>
          <a:ln w="10000" cap="flat" cmpd="sng" algn="ctr">
            <a:solidFill>
              <a:srgbClr val="C1D82F"/>
            </a:solidFill>
            <a:prstDash val="lgDash"/>
          </a:ln>
          <a:effectLst/>
        </p:spPr>
      </p:cxnSp>
      <p:cxnSp>
        <p:nvCxnSpPr>
          <p:cNvPr id="47" name="Straight Arrow Connector 46"/>
          <p:cNvCxnSpPr/>
          <p:nvPr/>
        </p:nvCxnSpPr>
        <p:spPr>
          <a:xfrm flipV="1">
            <a:off x="5052134" y="1821084"/>
            <a:ext cx="2135960" cy="1548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48" name="object 50"/>
          <p:cNvSpPr/>
          <p:nvPr/>
        </p:nvSpPr>
        <p:spPr>
          <a:xfrm>
            <a:off x="7245785" y="1644719"/>
            <a:ext cx="623987" cy="4642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94373">
              <a:defRPr/>
            </a:pPr>
            <a:endParaRPr sz="11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99284" y="3600682"/>
            <a:ext cx="447971" cy="447971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7760123" y="3606635"/>
            <a:ext cx="843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EM</a:t>
            </a:r>
          </a:p>
        </p:txBody>
      </p:sp>
      <p:cxnSp>
        <p:nvCxnSpPr>
          <p:cNvPr id="51" name="Straight Arrow Connector 50"/>
          <p:cNvCxnSpPr/>
          <p:nvPr/>
        </p:nvCxnSpPr>
        <p:spPr>
          <a:xfrm>
            <a:off x="7502446" y="2166535"/>
            <a:ext cx="0" cy="1396141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52" name="TextBox 51"/>
          <p:cNvSpPr txBox="1"/>
          <p:nvPr/>
        </p:nvSpPr>
        <p:spPr>
          <a:xfrm>
            <a:off x="7472821" y="2565703"/>
            <a:ext cx="14024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894373">
              <a:buFont typeface="Wingdings" panose="05000000000000000000" pitchFamily="2" charset="2"/>
              <a:buChar char="ü"/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sonal Offers</a:t>
            </a:r>
          </a:p>
          <a:p>
            <a:pPr marL="171450" indent="-171450" defTabSz="894373">
              <a:buFont typeface="Wingdings" panose="05000000000000000000" pitchFamily="2" charset="2"/>
              <a:buChar char="ü"/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up Forms</a:t>
            </a:r>
          </a:p>
          <a:p>
            <a:pPr marL="171450" indent="-171450" defTabSz="894373">
              <a:buFont typeface="Wingdings" panose="05000000000000000000" pitchFamily="2" charset="2"/>
              <a:buChar char="ü"/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oss-sell &amp; Up-sell</a:t>
            </a:r>
          </a:p>
        </p:txBody>
      </p:sp>
      <p:grpSp>
        <p:nvGrpSpPr>
          <p:cNvPr id="53" name="Group 52"/>
          <p:cNvGrpSpPr/>
          <p:nvPr/>
        </p:nvGrpSpPr>
        <p:grpSpPr>
          <a:xfrm>
            <a:off x="7141185" y="4471266"/>
            <a:ext cx="1448417" cy="645671"/>
            <a:chOff x="807124" y="3674071"/>
            <a:chExt cx="1448417" cy="645671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7214" y="3674071"/>
              <a:ext cx="507916" cy="507916"/>
            </a:xfrm>
            <a:prstGeom prst="rect">
              <a:avLst/>
            </a:prstGeom>
          </p:spPr>
        </p:pic>
        <p:sp>
          <p:nvSpPr>
            <p:cNvPr id="55" name="TextBox 54"/>
            <p:cNvSpPr txBox="1"/>
            <p:nvPr/>
          </p:nvSpPr>
          <p:spPr>
            <a:xfrm>
              <a:off x="1439598" y="3858077"/>
              <a:ext cx="81594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4373"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usiness /</a:t>
              </a:r>
            </a:p>
            <a:p>
              <a:pPr algn="ctr" defTabSz="894373"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gents</a:t>
              </a: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9007" y="3777905"/>
              <a:ext cx="507916" cy="507916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124" y="3750271"/>
              <a:ext cx="507916" cy="507916"/>
            </a:xfrm>
            <a:prstGeom prst="rect">
              <a:avLst/>
            </a:prstGeom>
          </p:spPr>
        </p:pic>
      </p:grpSp>
      <p:cxnSp>
        <p:nvCxnSpPr>
          <p:cNvPr id="58" name="Straight Arrow Connector 57"/>
          <p:cNvCxnSpPr/>
          <p:nvPr/>
        </p:nvCxnSpPr>
        <p:spPr>
          <a:xfrm>
            <a:off x="4768100" y="3829410"/>
            <a:ext cx="2528952" cy="0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59" name="TextBox 58"/>
          <p:cNvSpPr txBox="1"/>
          <p:nvPr/>
        </p:nvSpPr>
        <p:spPr>
          <a:xfrm>
            <a:off x="7543509" y="4025602"/>
            <a:ext cx="1178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les /  </a:t>
            </a:r>
          </a:p>
          <a:p>
            <a:pPr defTabSz="894373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versions</a:t>
            </a:r>
          </a:p>
        </p:txBody>
      </p:sp>
      <p:cxnSp>
        <p:nvCxnSpPr>
          <p:cNvPr id="60" name="Straight Arrow Connector 59"/>
          <p:cNvCxnSpPr/>
          <p:nvPr/>
        </p:nvCxnSpPr>
        <p:spPr>
          <a:xfrm>
            <a:off x="7515643" y="4084836"/>
            <a:ext cx="1" cy="291539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61" name="Straight Connector 60"/>
          <p:cNvCxnSpPr/>
          <p:nvPr/>
        </p:nvCxnSpPr>
        <p:spPr>
          <a:xfrm>
            <a:off x="8844504" y="1610018"/>
            <a:ext cx="0" cy="3696428"/>
          </a:xfrm>
          <a:prstGeom prst="line">
            <a:avLst/>
          </a:prstGeom>
          <a:noFill/>
          <a:ln w="10000" cap="flat" cmpd="sng" algn="ctr">
            <a:solidFill>
              <a:srgbClr val="C1D82F"/>
            </a:solidFill>
            <a:prstDash val="lgDash"/>
          </a:ln>
          <a:effectLst/>
        </p:spPr>
      </p:cxnSp>
      <p:cxnSp>
        <p:nvCxnSpPr>
          <p:cNvPr id="62" name="Straight Arrow Connector 61"/>
          <p:cNvCxnSpPr/>
          <p:nvPr/>
        </p:nvCxnSpPr>
        <p:spPr>
          <a:xfrm>
            <a:off x="7847749" y="1821084"/>
            <a:ext cx="1177742" cy="0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63" name="TextBox 62"/>
          <p:cNvSpPr txBox="1"/>
          <p:nvPr/>
        </p:nvSpPr>
        <p:spPr>
          <a:xfrm>
            <a:off x="7677594" y="1386115"/>
            <a:ext cx="20783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373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spects become customers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8948351" y="1622630"/>
            <a:ext cx="510303" cy="465224"/>
            <a:chOff x="8234584" y="1050073"/>
            <a:chExt cx="568447" cy="495635"/>
          </a:xfrm>
        </p:grpSpPr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02852" y="1050073"/>
              <a:ext cx="400179" cy="400179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34584" y="1145529"/>
              <a:ext cx="400179" cy="400179"/>
            </a:xfrm>
            <a:prstGeom prst="rect">
              <a:avLst/>
            </a:prstGeom>
          </p:spPr>
        </p:pic>
      </p:grpSp>
      <p:pic>
        <p:nvPicPr>
          <p:cNvPr id="67" name="Picture 6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24845" y="3579273"/>
            <a:ext cx="381840" cy="392403"/>
          </a:xfrm>
          <a:prstGeom prst="rect">
            <a:avLst/>
          </a:prstGeom>
        </p:spPr>
      </p:pic>
      <p:cxnSp>
        <p:nvCxnSpPr>
          <p:cNvPr id="68" name="Straight Arrow Connector 67"/>
          <p:cNvCxnSpPr/>
          <p:nvPr/>
        </p:nvCxnSpPr>
        <p:spPr>
          <a:xfrm>
            <a:off x="7760123" y="3825483"/>
            <a:ext cx="1265368" cy="0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69" name="Straight Arrow Connector 68"/>
          <p:cNvCxnSpPr/>
          <p:nvPr/>
        </p:nvCxnSpPr>
        <p:spPr>
          <a:xfrm>
            <a:off x="9175431" y="2087855"/>
            <a:ext cx="0" cy="1474821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pic>
        <p:nvPicPr>
          <p:cNvPr id="70" name="Picture 6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37570" y="4554733"/>
            <a:ext cx="467728" cy="467728"/>
          </a:xfrm>
          <a:prstGeom prst="rect">
            <a:avLst/>
          </a:prstGeom>
        </p:spPr>
      </p:pic>
      <p:sp>
        <p:nvSpPr>
          <p:cNvPr id="71" name="TextBox 70"/>
          <p:cNvSpPr txBox="1"/>
          <p:nvPr/>
        </p:nvSpPr>
        <p:spPr>
          <a:xfrm>
            <a:off x="8802259" y="5061778"/>
            <a:ext cx="8560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373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</a:t>
            </a:r>
          </a:p>
        </p:txBody>
      </p:sp>
      <p:cxnSp>
        <p:nvCxnSpPr>
          <p:cNvPr id="72" name="Straight Arrow Connector 71"/>
          <p:cNvCxnSpPr/>
          <p:nvPr/>
        </p:nvCxnSpPr>
        <p:spPr>
          <a:xfrm>
            <a:off x="9175431" y="3989055"/>
            <a:ext cx="0" cy="557320"/>
          </a:xfrm>
          <a:prstGeom prst="straightConnector1">
            <a:avLst/>
          </a:prstGeom>
          <a:noFill/>
          <a:ln w="100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pic>
        <p:nvPicPr>
          <p:cNvPr id="73" name="Picture 7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3592" y="2418666"/>
            <a:ext cx="469517" cy="469518"/>
          </a:xfrm>
          <a:prstGeom prst="rect">
            <a:avLst/>
          </a:prstGeom>
        </p:spPr>
      </p:pic>
      <p:sp>
        <p:nvSpPr>
          <p:cNvPr id="74" name="TextBox 73"/>
          <p:cNvSpPr txBox="1"/>
          <p:nvPr/>
        </p:nvSpPr>
        <p:spPr>
          <a:xfrm>
            <a:off x="9180771" y="3941574"/>
            <a:ext cx="8129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I</a:t>
            </a:r>
          </a:p>
          <a:p>
            <a:pPr defTabSz="894373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tics</a:t>
            </a:r>
          </a:p>
          <a:p>
            <a:pPr defTabSz="894373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edback</a:t>
            </a:r>
          </a:p>
        </p:txBody>
      </p:sp>
      <p:sp>
        <p:nvSpPr>
          <p:cNvPr id="75" name="object 50"/>
          <p:cNvSpPr/>
          <p:nvPr/>
        </p:nvSpPr>
        <p:spPr>
          <a:xfrm>
            <a:off x="9127974" y="2727504"/>
            <a:ext cx="623987" cy="4642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94373">
              <a:defRPr/>
            </a:pPr>
            <a:endParaRPr sz="11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6" name="Diagram 75"/>
          <p:cNvGraphicFramePr/>
          <p:nvPr>
            <p:extLst>
              <p:ext uri="{D42A27DB-BD31-4B8C-83A1-F6EECF244321}">
                <p14:modId xmlns:p14="http://schemas.microsoft.com/office/powerpoint/2010/main" val="3761030419"/>
              </p:ext>
            </p:extLst>
          </p:nvPr>
        </p:nvGraphicFramePr>
        <p:xfrm>
          <a:off x="1424356" y="1093012"/>
          <a:ext cx="8116300" cy="217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77" name="TextBox 76"/>
          <p:cNvSpPr txBox="1"/>
          <p:nvPr/>
        </p:nvSpPr>
        <p:spPr>
          <a:xfrm>
            <a:off x="2126305" y="5205794"/>
            <a:ext cx="9623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373">
              <a:defRPr/>
            </a:pPr>
            <a:r>
              <a:rPr lang="en-US" sz="12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stomers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199EAFFC-12BA-4944-8BCD-4FB7EBF3E1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98100" y="3591568"/>
            <a:ext cx="344997" cy="35454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D681EF4-BF25-488E-B873-CAE05A5C3A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22920" y="3591567"/>
            <a:ext cx="344997" cy="354541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2BD57073-B4C2-48DA-95E0-21E72C0F4CF0}"/>
              </a:ext>
            </a:extLst>
          </p:cNvPr>
          <p:cNvSpPr txBox="1"/>
          <p:nvPr/>
        </p:nvSpPr>
        <p:spPr>
          <a:xfrm>
            <a:off x="4654617" y="3600682"/>
            <a:ext cx="16863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373"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obe Marketing Cloud</a:t>
            </a:r>
          </a:p>
        </p:txBody>
      </p:sp>
      <p:sp>
        <p:nvSpPr>
          <p:cNvPr id="78" name="Content Placeholder 7">
            <a:extLst>
              <a:ext uri="{FF2B5EF4-FFF2-40B4-BE49-F238E27FC236}">
                <a16:creationId xmlns:a16="http://schemas.microsoft.com/office/drawing/2014/main" id="{F6DF8F01-24B4-4718-9FBC-92912534C9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8941" y="6138841"/>
            <a:ext cx="9408033" cy="400110"/>
          </a:xfrm>
        </p:spPr>
        <p:txBody>
          <a:bodyPr/>
          <a:lstStyle/>
          <a:p>
            <a:r>
              <a:rPr lang="en-US" sz="1400" b="0" i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users can design, test and launch customer journeys without the involvement of IT staff or development team</a:t>
            </a:r>
            <a:endParaRPr lang="en-US" sz="14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337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1"/>
            <a:ext cx="11479212" cy="656914"/>
          </a:xfrm>
        </p:spPr>
        <p:txBody>
          <a:bodyPr/>
          <a:lstStyle/>
          <a:p>
            <a:r>
              <a:rPr lang="en-US" dirty="0"/>
              <a:t>Continuous content enrichmen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A25FD7D-59F0-465C-BACA-D6C58753F6E6}"/>
              </a:ext>
            </a:extLst>
          </p:cNvPr>
          <p:cNvGrpSpPr/>
          <p:nvPr/>
        </p:nvGrpSpPr>
        <p:grpSpPr>
          <a:xfrm>
            <a:off x="2534419" y="1692183"/>
            <a:ext cx="5676186" cy="3715522"/>
            <a:chOff x="1166609" y="1048928"/>
            <a:chExt cx="6567691" cy="442884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D6FC1CB-5893-4188-BB8F-83E823FD9D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310" b="792"/>
            <a:stretch/>
          </p:blipFill>
          <p:spPr>
            <a:xfrm>
              <a:off x="1166609" y="1048928"/>
              <a:ext cx="6548641" cy="656914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573F5819-5ECA-484C-97E3-F9554C1296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66609" y="1868210"/>
              <a:ext cx="4691792" cy="360956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4811388-E467-479A-B715-AC8F6DCE82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5815" r="22792" b="-1"/>
            <a:stretch/>
          </p:blipFill>
          <p:spPr>
            <a:xfrm>
              <a:off x="5943600" y="1769440"/>
              <a:ext cx="1771650" cy="1209675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324F1285-CCBB-4137-A5D6-CCF795EA7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62650" y="3004030"/>
              <a:ext cx="1771650" cy="375805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DD1E596-AF43-40B0-93CB-20E210F8DEB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943600" y="3508832"/>
              <a:ext cx="1771650" cy="1968938"/>
            </a:xfrm>
            <a:prstGeom prst="rect">
              <a:avLst/>
            </a:prstGeom>
          </p:spPr>
        </p:pic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id="{2E802CFD-2087-49A5-B465-54FC2588342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16700" y="2883126"/>
            <a:ext cx="661345" cy="649993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A304F8DE-461B-4020-B102-0B20E159B427}"/>
              </a:ext>
            </a:extLst>
          </p:cNvPr>
          <p:cNvSpPr txBox="1"/>
          <p:nvPr/>
        </p:nvSpPr>
        <p:spPr>
          <a:xfrm>
            <a:off x="9578600" y="3580909"/>
            <a:ext cx="76638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CF496380-33B8-4E97-99DA-5761EF03A40E}"/>
              </a:ext>
            </a:extLst>
          </p:cNvPr>
          <p:cNvCxnSpPr>
            <a:cxnSpLocks/>
          </p:cNvCxnSpPr>
          <p:nvPr/>
        </p:nvCxnSpPr>
        <p:spPr>
          <a:xfrm>
            <a:off x="5365808" y="1447225"/>
            <a:ext cx="0" cy="17992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C8A9BF04-080E-431E-8ACC-F21A036ED56E}"/>
              </a:ext>
            </a:extLst>
          </p:cNvPr>
          <p:cNvSpPr txBox="1"/>
          <p:nvPr/>
        </p:nvSpPr>
        <p:spPr>
          <a:xfrm>
            <a:off x="5502389" y="1403700"/>
            <a:ext cx="26174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Launch tested content</a:t>
            </a: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CF2D83B6-16B7-4082-A56C-F04B917813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65318" y="793512"/>
            <a:ext cx="587774" cy="587774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AF79C912-EED0-4BAD-9DDB-3277B8EB087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06799" y="5781448"/>
            <a:ext cx="539709" cy="539709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EE23E28B-2DEE-4FAA-9E25-92EB9FCEAF5C}"/>
              </a:ext>
            </a:extLst>
          </p:cNvPr>
          <p:cNvCxnSpPr>
            <a:cxnSpLocks/>
          </p:cNvCxnSpPr>
          <p:nvPr/>
        </p:nvCxnSpPr>
        <p:spPr>
          <a:xfrm>
            <a:off x="5357193" y="5430577"/>
            <a:ext cx="0" cy="28328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3423578D-93C7-43BD-844C-BDCD4DAEBF64}"/>
              </a:ext>
            </a:extLst>
          </p:cNvPr>
          <p:cNvSpPr txBox="1"/>
          <p:nvPr/>
        </p:nvSpPr>
        <p:spPr>
          <a:xfrm>
            <a:off x="4298929" y="5979626"/>
            <a:ext cx="76638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Analytic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9901E0F-DC7E-4FAE-97F5-5F374C158DE3}"/>
              </a:ext>
            </a:extLst>
          </p:cNvPr>
          <p:cNvSpPr txBox="1"/>
          <p:nvPr/>
        </p:nvSpPr>
        <p:spPr>
          <a:xfrm>
            <a:off x="5635396" y="5475337"/>
            <a:ext cx="17621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Tracking and analysis</a:t>
            </a:r>
          </a:p>
        </p:txBody>
      </p:sp>
      <p:cxnSp>
        <p:nvCxnSpPr>
          <p:cNvPr id="66" name="Elbow Connector 51">
            <a:extLst>
              <a:ext uri="{FF2B5EF4-FFF2-40B4-BE49-F238E27FC236}">
                <a16:creationId xmlns:a16="http://schemas.microsoft.com/office/drawing/2014/main" id="{F976494D-23B4-4267-998D-3262D481B01D}"/>
              </a:ext>
            </a:extLst>
          </p:cNvPr>
          <p:cNvCxnSpPr>
            <a:cxnSpLocks/>
            <a:endCxn id="55" idx="2"/>
          </p:cNvCxnSpPr>
          <p:nvPr/>
        </p:nvCxnSpPr>
        <p:spPr>
          <a:xfrm flipV="1">
            <a:off x="5778989" y="3796353"/>
            <a:ext cx="4182806" cy="2204191"/>
          </a:xfrm>
          <a:prstGeom prst="bentConnector2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55">
            <a:extLst>
              <a:ext uri="{FF2B5EF4-FFF2-40B4-BE49-F238E27FC236}">
                <a16:creationId xmlns:a16="http://schemas.microsoft.com/office/drawing/2014/main" id="{28C92945-42A4-4595-861D-B9547820EB14}"/>
              </a:ext>
            </a:extLst>
          </p:cNvPr>
          <p:cNvCxnSpPr>
            <a:cxnSpLocks/>
            <a:stCxn id="54" idx="0"/>
          </p:cNvCxnSpPr>
          <p:nvPr/>
        </p:nvCxnSpPr>
        <p:spPr>
          <a:xfrm rot="16200000" flipV="1">
            <a:off x="6985297" y="-78951"/>
            <a:ext cx="1741348" cy="4182805"/>
          </a:xfrm>
          <a:prstGeom prst="bentConnector2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382A5E86-72C5-4E9B-B80B-7F4737DD7BBF}"/>
              </a:ext>
            </a:extLst>
          </p:cNvPr>
          <p:cNvSpPr txBox="1"/>
          <p:nvPr/>
        </p:nvSpPr>
        <p:spPr>
          <a:xfrm>
            <a:off x="8731388" y="2369596"/>
            <a:ext cx="111641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Push </a:t>
            </a:r>
          </a:p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relevant content </a:t>
            </a:r>
          </a:p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dynamically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AE69D26-5F16-42CF-A5BB-D8ECA6358169}"/>
              </a:ext>
            </a:extLst>
          </p:cNvPr>
          <p:cNvSpPr/>
          <p:nvPr/>
        </p:nvSpPr>
        <p:spPr>
          <a:xfrm>
            <a:off x="5968061" y="868176"/>
            <a:ext cx="37758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Modify and test conten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C3CEE3F-5E8E-4497-8725-837B297B5DB7}"/>
              </a:ext>
            </a:extLst>
          </p:cNvPr>
          <p:cNvSpPr txBox="1"/>
          <p:nvPr/>
        </p:nvSpPr>
        <p:spPr>
          <a:xfrm>
            <a:off x="4417879" y="918753"/>
            <a:ext cx="76638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AEM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105FB320-CB67-4EBF-B389-2D4D77B910C6}"/>
              </a:ext>
            </a:extLst>
          </p:cNvPr>
          <p:cNvSpPr txBox="1"/>
          <p:nvPr/>
        </p:nvSpPr>
        <p:spPr>
          <a:xfrm>
            <a:off x="6364224" y="6050972"/>
            <a:ext cx="334819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Update presentation strategy as per the analysis</a:t>
            </a:r>
          </a:p>
        </p:txBody>
      </p:sp>
      <p:sp>
        <p:nvSpPr>
          <p:cNvPr id="89" name="Right Bracket 88">
            <a:extLst>
              <a:ext uri="{FF2B5EF4-FFF2-40B4-BE49-F238E27FC236}">
                <a16:creationId xmlns:a16="http://schemas.microsoft.com/office/drawing/2014/main" id="{919E824A-5B4A-44DA-AC22-E45F2DE24265}"/>
              </a:ext>
            </a:extLst>
          </p:cNvPr>
          <p:cNvSpPr/>
          <p:nvPr/>
        </p:nvSpPr>
        <p:spPr>
          <a:xfrm>
            <a:off x="8288984" y="2449827"/>
            <a:ext cx="328407" cy="1570417"/>
          </a:xfrm>
          <a:prstGeom prst="rightBracket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6B70A78D-CA51-497B-AB5D-4A41C487D5E4}"/>
              </a:ext>
            </a:extLst>
          </p:cNvPr>
          <p:cNvCxnSpPr>
            <a:cxnSpLocks/>
          </p:cNvCxnSpPr>
          <p:nvPr/>
        </p:nvCxnSpPr>
        <p:spPr>
          <a:xfrm flipH="1">
            <a:off x="8226555" y="4020244"/>
            <a:ext cx="92346" cy="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B3AB11C8-81B4-462D-8F3D-E45180BFB351}"/>
              </a:ext>
            </a:extLst>
          </p:cNvPr>
          <p:cNvCxnSpPr>
            <a:cxnSpLocks/>
          </p:cNvCxnSpPr>
          <p:nvPr/>
        </p:nvCxnSpPr>
        <p:spPr>
          <a:xfrm flipH="1">
            <a:off x="8226555" y="2449827"/>
            <a:ext cx="92346" cy="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581C4E8A-4C4A-4102-AC0B-9EE1053D5EDD}"/>
              </a:ext>
            </a:extLst>
          </p:cNvPr>
          <p:cNvCxnSpPr>
            <a:cxnSpLocks/>
            <a:stCxn id="89" idx="2"/>
          </p:cNvCxnSpPr>
          <p:nvPr/>
        </p:nvCxnSpPr>
        <p:spPr>
          <a:xfrm>
            <a:off x="8617391" y="3235036"/>
            <a:ext cx="94793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2DA9F2-0B70-4D4D-B080-48730304A4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9438" y="6501721"/>
            <a:ext cx="9744138" cy="265274"/>
          </a:xfrm>
        </p:spPr>
        <p:txBody>
          <a:bodyPr/>
          <a:lstStyle/>
          <a:p>
            <a:r>
              <a:rPr lang="en-GB" sz="1200" i="0" dirty="0"/>
              <a:t>Adobe Analytics and Target provide a feedback loop for continuously enriching the personalized content</a:t>
            </a:r>
          </a:p>
        </p:txBody>
      </p:sp>
    </p:spTree>
    <p:extLst>
      <p:ext uri="{BB962C8B-B14F-4D97-AF65-F5344CB8AC3E}">
        <p14:creationId xmlns:p14="http://schemas.microsoft.com/office/powerpoint/2010/main" val="336496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6694861A-93EE-41F8-A41F-C4CED34040B2}"/>
              </a:ext>
            </a:extLst>
          </p:cNvPr>
          <p:cNvSpPr/>
          <p:nvPr/>
        </p:nvSpPr>
        <p:spPr>
          <a:xfrm>
            <a:off x="981117" y="4735495"/>
            <a:ext cx="9700268" cy="886204"/>
          </a:xfrm>
          <a:prstGeom prst="rect">
            <a:avLst/>
          </a:prstGeom>
          <a:solidFill>
            <a:srgbClr val="E6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5D1E463-A93F-42DB-888C-4C1D0CECEF4D}"/>
              </a:ext>
            </a:extLst>
          </p:cNvPr>
          <p:cNvSpPr/>
          <p:nvPr/>
        </p:nvSpPr>
        <p:spPr>
          <a:xfrm>
            <a:off x="8747175" y="1236301"/>
            <a:ext cx="1946184" cy="3362325"/>
          </a:xfrm>
          <a:prstGeom prst="rect">
            <a:avLst/>
          </a:prstGeom>
          <a:solidFill>
            <a:srgbClr val="E6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ants / Partner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91D3672-01B8-40BC-A383-1A7E699B2BB4}"/>
              </a:ext>
            </a:extLst>
          </p:cNvPr>
          <p:cNvSpPr/>
          <p:nvPr/>
        </p:nvSpPr>
        <p:spPr>
          <a:xfrm>
            <a:off x="3573993" y="1246027"/>
            <a:ext cx="5051603" cy="3352800"/>
          </a:xfrm>
          <a:prstGeom prst="rect">
            <a:avLst/>
          </a:prstGeom>
          <a:solidFill>
            <a:srgbClr val="E6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ution Development Tea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50D3600-8FFE-45EC-B514-B8934E82A995}"/>
              </a:ext>
            </a:extLst>
          </p:cNvPr>
          <p:cNvSpPr/>
          <p:nvPr/>
        </p:nvSpPr>
        <p:spPr>
          <a:xfrm>
            <a:off x="1008041" y="1236503"/>
            <a:ext cx="2444374" cy="3362324"/>
          </a:xfrm>
          <a:prstGeom prst="rect">
            <a:avLst/>
          </a:prstGeom>
          <a:solidFill>
            <a:srgbClr val="E6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egon stakeholders</a:t>
            </a:r>
          </a:p>
        </p:txBody>
      </p:sp>
      <p:sp>
        <p:nvSpPr>
          <p:cNvPr id="10" name="Rounded Rectangle 12"/>
          <p:cNvSpPr/>
          <p:nvPr/>
        </p:nvSpPr>
        <p:spPr>
          <a:xfrm>
            <a:off x="1363747" y="1782766"/>
            <a:ext cx="1682775" cy="41359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gital Strategy</a:t>
            </a:r>
          </a:p>
        </p:txBody>
      </p:sp>
      <p:sp>
        <p:nvSpPr>
          <p:cNvPr id="11" name="Rounded Rectangle 13"/>
          <p:cNvSpPr/>
          <p:nvPr/>
        </p:nvSpPr>
        <p:spPr>
          <a:xfrm>
            <a:off x="1363746" y="2335809"/>
            <a:ext cx="1682775" cy="41359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</a:t>
            </a:r>
          </a:p>
        </p:txBody>
      </p:sp>
      <p:sp>
        <p:nvSpPr>
          <p:cNvPr id="12" name="Rounded Rectangle 14"/>
          <p:cNvSpPr/>
          <p:nvPr/>
        </p:nvSpPr>
        <p:spPr>
          <a:xfrm>
            <a:off x="1363746" y="2900259"/>
            <a:ext cx="1682775" cy="41359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b="1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 Security</a:t>
            </a:r>
          </a:p>
        </p:txBody>
      </p:sp>
      <p:sp>
        <p:nvSpPr>
          <p:cNvPr id="13" name="Rounded Rectangle 15"/>
          <p:cNvSpPr/>
          <p:nvPr/>
        </p:nvSpPr>
        <p:spPr>
          <a:xfrm>
            <a:off x="1363745" y="3467966"/>
            <a:ext cx="1682775" cy="41359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ons</a:t>
            </a:r>
          </a:p>
        </p:txBody>
      </p:sp>
      <p:sp>
        <p:nvSpPr>
          <p:cNvPr id="14" name="Rounded Rectangle 16"/>
          <p:cNvSpPr/>
          <p:nvPr/>
        </p:nvSpPr>
        <p:spPr>
          <a:xfrm>
            <a:off x="1363743" y="3986108"/>
            <a:ext cx="1682775" cy="41359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urement</a:t>
            </a:r>
          </a:p>
        </p:txBody>
      </p:sp>
      <p:sp>
        <p:nvSpPr>
          <p:cNvPr id="16" name="Pentagon 18"/>
          <p:cNvSpPr/>
          <p:nvPr/>
        </p:nvSpPr>
        <p:spPr>
          <a:xfrm>
            <a:off x="1100930" y="4946368"/>
            <a:ext cx="2729632" cy="413595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vernance</a:t>
            </a:r>
          </a:p>
        </p:txBody>
      </p:sp>
      <p:sp>
        <p:nvSpPr>
          <p:cNvPr id="17" name="Pentagon 19"/>
          <p:cNvSpPr/>
          <p:nvPr/>
        </p:nvSpPr>
        <p:spPr>
          <a:xfrm>
            <a:off x="7913943" y="4951218"/>
            <a:ext cx="2721898" cy="413595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keholder engagement</a:t>
            </a:r>
          </a:p>
        </p:txBody>
      </p:sp>
      <p:sp>
        <p:nvSpPr>
          <p:cNvPr id="18" name="Pentagon 20"/>
          <p:cNvSpPr/>
          <p:nvPr/>
        </p:nvSpPr>
        <p:spPr>
          <a:xfrm>
            <a:off x="4398919" y="4951218"/>
            <a:ext cx="3270733" cy="413595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iance</a:t>
            </a:r>
          </a:p>
        </p:txBody>
      </p:sp>
      <p:sp>
        <p:nvSpPr>
          <p:cNvPr id="21" name="Rounded Rectangle 23"/>
          <p:cNvSpPr/>
          <p:nvPr/>
        </p:nvSpPr>
        <p:spPr>
          <a:xfrm>
            <a:off x="8876214" y="2726620"/>
            <a:ext cx="1643963" cy="41359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ining</a:t>
            </a:r>
          </a:p>
        </p:txBody>
      </p:sp>
      <p:sp>
        <p:nvSpPr>
          <p:cNvPr id="22" name="Rounded Rectangle 24"/>
          <p:cNvSpPr/>
          <p:nvPr/>
        </p:nvSpPr>
        <p:spPr>
          <a:xfrm>
            <a:off x="8876214" y="3327838"/>
            <a:ext cx="1643962" cy="41359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ff augmentation</a:t>
            </a:r>
          </a:p>
        </p:txBody>
      </p:sp>
      <p:sp>
        <p:nvSpPr>
          <p:cNvPr id="23" name="Rounded Rectangle 25"/>
          <p:cNvSpPr/>
          <p:nvPr/>
        </p:nvSpPr>
        <p:spPr>
          <a:xfrm>
            <a:off x="8915846" y="3878302"/>
            <a:ext cx="1643961" cy="41359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orting</a:t>
            </a:r>
          </a:p>
        </p:txBody>
      </p:sp>
      <p:sp>
        <p:nvSpPr>
          <p:cNvPr id="25" name="Rounded Rectangle 27"/>
          <p:cNvSpPr/>
          <p:nvPr/>
        </p:nvSpPr>
        <p:spPr>
          <a:xfrm>
            <a:off x="8876214" y="2041916"/>
            <a:ext cx="1643963" cy="462132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ount Management</a:t>
            </a:r>
          </a:p>
        </p:txBody>
      </p:sp>
      <p:cxnSp>
        <p:nvCxnSpPr>
          <p:cNvPr id="26" name="Straight Connector 25"/>
          <p:cNvCxnSpPr>
            <a:cxnSpLocks/>
          </p:cNvCxnSpPr>
          <p:nvPr/>
        </p:nvCxnSpPr>
        <p:spPr>
          <a:xfrm>
            <a:off x="5936933" y="3094345"/>
            <a:ext cx="0" cy="334655"/>
          </a:xfrm>
          <a:prstGeom prst="line">
            <a:avLst/>
          </a:prstGeom>
          <a:noFill/>
          <a:ln w="9525" cap="flat" cmpd="sng" algn="ctr">
            <a:solidFill>
              <a:srgbClr val="3C3C3C"/>
            </a:solidFill>
            <a:prstDash val="solid"/>
          </a:ln>
          <a:effectLst/>
        </p:spPr>
      </p:cxnSp>
      <p:cxnSp>
        <p:nvCxnSpPr>
          <p:cNvPr id="27" name="Straight Connector 26"/>
          <p:cNvCxnSpPr/>
          <p:nvPr/>
        </p:nvCxnSpPr>
        <p:spPr>
          <a:xfrm>
            <a:off x="7677520" y="3083204"/>
            <a:ext cx="0" cy="300661"/>
          </a:xfrm>
          <a:prstGeom prst="line">
            <a:avLst/>
          </a:prstGeom>
          <a:noFill/>
          <a:ln w="9525" cap="flat" cmpd="sng" algn="ctr">
            <a:solidFill>
              <a:srgbClr val="3C3C3C"/>
            </a:solidFill>
            <a:prstDash val="solid"/>
          </a:ln>
          <a:effectLst/>
        </p:spPr>
      </p:cxnSp>
      <p:cxnSp>
        <p:nvCxnSpPr>
          <p:cNvPr id="34" name="Straight Connector 33"/>
          <p:cNvCxnSpPr/>
          <p:nvPr/>
        </p:nvCxnSpPr>
        <p:spPr>
          <a:xfrm>
            <a:off x="4285832" y="3087320"/>
            <a:ext cx="3405811" cy="0"/>
          </a:xfrm>
          <a:prstGeom prst="line">
            <a:avLst/>
          </a:prstGeom>
          <a:noFill/>
          <a:ln w="9525" cap="flat" cmpd="sng" algn="ctr">
            <a:solidFill>
              <a:srgbClr val="3C3C3C"/>
            </a:solidFill>
            <a:prstDash val="solid"/>
          </a:ln>
          <a:effectLst/>
        </p:spPr>
      </p:cxnSp>
      <p:cxnSp>
        <p:nvCxnSpPr>
          <p:cNvPr id="29" name="Straight Connector 28"/>
          <p:cNvCxnSpPr/>
          <p:nvPr/>
        </p:nvCxnSpPr>
        <p:spPr>
          <a:xfrm>
            <a:off x="4285832" y="3089288"/>
            <a:ext cx="0" cy="242235"/>
          </a:xfrm>
          <a:prstGeom prst="line">
            <a:avLst/>
          </a:prstGeom>
          <a:noFill/>
          <a:ln w="9525" cap="flat" cmpd="sng" algn="ctr">
            <a:solidFill>
              <a:srgbClr val="3C3C3C"/>
            </a:solidFill>
            <a:prstDash val="solid"/>
          </a:ln>
          <a:effectLst/>
        </p:spPr>
      </p:cxnSp>
      <p:cxnSp>
        <p:nvCxnSpPr>
          <p:cNvPr id="30" name="Straight Arrow Connector 29"/>
          <p:cNvCxnSpPr/>
          <p:nvPr/>
        </p:nvCxnSpPr>
        <p:spPr>
          <a:xfrm flipV="1">
            <a:off x="5937381" y="2912345"/>
            <a:ext cx="0" cy="3113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581252"/>
          </a:xfrm>
        </p:spPr>
        <p:txBody>
          <a:bodyPr/>
          <a:lstStyle/>
          <a:p>
            <a:r>
              <a:rPr lang="en-US" b="1" dirty="0"/>
              <a:t>Team Structure</a:t>
            </a:r>
          </a:p>
        </p:txBody>
      </p:sp>
      <p:sp>
        <p:nvSpPr>
          <p:cNvPr id="42" name="Rounded Rectangle 15">
            <a:extLst>
              <a:ext uri="{FF2B5EF4-FFF2-40B4-BE49-F238E27FC236}">
                <a16:creationId xmlns:a16="http://schemas.microsoft.com/office/drawing/2014/main" id="{171557AB-3986-44BC-B827-E18DD6EEFC62}"/>
              </a:ext>
            </a:extLst>
          </p:cNvPr>
          <p:cNvSpPr/>
          <p:nvPr/>
        </p:nvSpPr>
        <p:spPr>
          <a:xfrm>
            <a:off x="4584329" y="1782766"/>
            <a:ext cx="2741691" cy="1114683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Manager</a:t>
            </a:r>
          </a:p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ent Strategist</a:t>
            </a:r>
          </a:p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Analyst</a:t>
            </a:r>
          </a:p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obe Cloud Solutions Architect</a:t>
            </a:r>
          </a:p>
        </p:txBody>
      </p:sp>
      <p:sp>
        <p:nvSpPr>
          <p:cNvPr id="43" name="Rounded Rectangle 16">
            <a:extLst>
              <a:ext uri="{FF2B5EF4-FFF2-40B4-BE49-F238E27FC236}">
                <a16:creationId xmlns:a16="http://schemas.microsoft.com/office/drawing/2014/main" id="{8E9B192F-F603-404A-AD0D-27BFFAA83A38}"/>
              </a:ext>
            </a:extLst>
          </p:cNvPr>
          <p:cNvSpPr/>
          <p:nvPr/>
        </p:nvSpPr>
        <p:spPr>
          <a:xfrm>
            <a:off x="3649815" y="3351202"/>
            <a:ext cx="1272033" cy="941556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A Lead</a:t>
            </a:r>
          </a:p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A Engineers</a:t>
            </a:r>
          </a:p>
        </p:txBody>
      </p:sp>
      <p:sp>
        <p:nvSpPr>
          <p:cNvPr id="45" name="Rounded Rectangle 16">
            <a:extLst>
              <a:ext uri="{FF2B5EF4-FFF2-40B4-BE49-F238E27FC236}">
                <a16:creationId xmlns:a16="http://schemas.microsoft.com/office/drawing/2014/main" id="{E16201CE-51BD-4843-8E2E-1D3456817554}"/>
              </a:ext>
            </a:extLst>
          </p:cNvPr>
          <p:cNvSpPr/>
          <p:nvPr/>
        </p:nvSpPr>
        <p:spPr>
          <a:xfrm>
            <a:off x="5297891" y="3312166"/>
            <a:ext cx="1272033" cy="941556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Lead</a:t>
            </a:r>
          </a:p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ers</a:t>
            </a:r>
          </a:p>
        </p:txBody>
      </p:sp>
      <p:sp>
        <p:nvSpPr>
          <p:cNvPr id="46" name="Rounded Rectangle 16">
            <a:extLst>
              <a:ext uri="{FF2B5EF4-FFF2-40B4-BE49-F238E27FC236}">
                <a16:creationId xmlns:a16="http://schemas.microsoft.com/office/drawing/2014/main" id="{A0AA2F81-F74B-46FC-B9DA-4012963B5AF0}"/>
              </a:ext>
            </a:extLst>
          </p:cNvPr>
          <p:cNvSpPr/>
          <p:nvPr/>
        </p:nvSpPr>
        <p:spPr>
          <a:xfrm>
            <a:off x="7034497" y="3327838"/>
            <a:ext cx="1270310" cy="941556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X Lead</a:t>
            </a:r>
          </a:p>
          <a:p>
            <a:pPr algn="ctr" defTabSz="1219170">
              <a:defRPr/>
            </a:pPr>
            <a:r>
              <a:rPr lang="en-US" sz="14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itor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3D42C14-3518-4B0C-9B06-57E8CAAC12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000" y="6485184"/>
            <a:ext cx="6248846" cy="313387"/>
          </a:xfrm>
        </p:spPr>
        <p:txBody>
          <a:bodyPr/>
          <a:lstStyle/>
          <a:p>
            <a:pPr algn="ctr"/>
            <a:r>
              <a:rPr lang="en-GB" sz="1200" dirty="0"/>
              <a:t>Recommended for AEM development [Srinivas Gopinath Parimi]</a:t>
            </a:r>
          </a:p>
        </p:txBody>
      </p:sp>
    </p:spTree>
    <p:extLst>
      <p:ext uri="{BB962C8B-B14F-4D97-AF65-F5344CB8AC3E}">
        <p14:creationId xmlns:p14="http://schemas.microsoft.com/office/powerpoint/2010/main" val="124461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118574"/>
            <a:ext cx="10515600" cy="540844"/>
          </a:xfrm>
        </p:spPr>
        <p:txBody>
          <a:bodyPr/>
          <a:lstStyle/>
          <a:p>
            <a:r>
              <a:rPr lang="en-US" b="1" dirty="0"/>
              <a:t>Development Cyc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5DAD5D-F0B1-4664-AB0D-B7EDE3E9D2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9582" y="6464682"/>
            <a:ext cx="4552274" cy="333889"/>
          </a:xfrm>
        </p:spPr>
        <p:txBody>
          <a:bodyPr/>
          <a:lstStyle/>
          <a:p>
            <a:pPr algn="ctr"/>
            <a:r>
              <a:rPr lang="en-GB" sz="1200" dirty="0"/>
              <a:t>Recommended for AEM development [Srinivas Gopinath Parimi]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5A748E5-83D8-4B5F-BB3F-AE973E2FDE4C}"/>
              </a:ext>
            </a:extLst>
          </p:cNvPr>
          <p:cNvSpPr/>
          <p:nvPr/>
        </p:nvSpPr>
        <p:spPr>
          <a:xfrm>
            <a:off x="1730482" y="1015330"/>
            <a:ext cx="8178585" cy="5284506"/>
          </a:xfrm>
          <a:prstGeom prst="ellipse">
            <a:avLst/>
          </a:prstGeom>
          <a:noFill/>
          <a:ln>
            <a:solidFill>
              <a:schemeClr val="tx2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EF8CA2-3ADA-42DB-BDA0-C9B51E5649A5}"/>
              </a:ext>
            </a:extLst>
          </p:cNvPr>
          <p:cNvSpPr/>
          <p:nvPr/>
        </p:nvSpPr>
        <p:spPr>
          <a:xfrm>
            <a:off x="7429500" y="809625"/>
            <a:ext cx="2105025" cy="1635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" name="Flowchart: Terminator 112">
            <a:extLst>
              <a:ext uri="{FF2B5EF4-FFF2-40B4-BE49-F238E27FC236}">
                <a16:creationId xmlns:a16="http://schemas.microsoft.com/office/drawing/2014/main" id="{86A491F4-D539-45DD-AFB4-02324F98A42A}"/>
              </a:ext>
            </a:extLst>
          </p:cNvPr>
          <p:cNvSpPr/>
          <p:nvPr/>
        </p:nvSpPr>
        <p:spPr>
          <a:xfrm>
            <a:off x="2914530" y="3661204"/>
            <a:ext cx="1355308" cy="252548"/>
          </a:xfrm>
          <a:prstGeom prst="flowChartTerminato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ign</a:t>
            </a:r>
          </a:p>
        </p:txBody>
      </p:sp>
      <p:sp>
        <p:nvSpPr>
          <p:cNvPr id="112" name="Flowchart: Terminator 111">
            <a:extLst>
              <a:ext uri="{FF2B5EF4-FFF2-40B4-BE49-F238E27FC236}">
                <a16:creationId xmlns:a16="http://schemas.microsoft.com/office/drawing/2014/main" id="{506F4B53-A974-42C8-98C9-72F9A2A21D10}"/>
              </a:ext>
            </a:extLst>
          </p:cNvPr>
          <p:cNvSpPr/>
          <p:nvPr/>
        </p:nvSpPr>
        <p:spPr>
          <a:xfrm>
            <a:off x="3876872" y="4023055"/>
            <a:ext cx="1199999" cy="237878"/>
          </a:xfrm>
          <a:prstGeom prst="flowChartTerminator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</a:t>
            </a:r>
          </a:p>
        </p:txBody>
      </p:sp>
      <p:sp>
        <p:nvSpPr>
          <p:cNvPr id="108" name="Flowchart: Terminator 107">
            <a:extLst>
              <a:ext uri="{FF2B5EF4-FFF2-40B4-BE49-F238E27FC236}">
                <a16:creationId xmlns:a16="http://schemas.microsoft.com/office/drawing/2014/main" id="{2C372254-40B0-4B65-A0E2-0B94DAF220E4}"/>
              </a:ext>
            </a:extLst>
          </p:cNvPr>
          <p:cNvSpPr/>
          <p:nvPr/>
        </p:nvSpPr>
        <p:spPr>
          <a:xfrm>
            <a:off x="4720684" y="4391759"/>
            <a:ext cx="1199999" cy="237878"/>
          </a:xfrm>
          <a:prstGeom prst="flowChartTerminator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A</a:t>
            </a:r>
          </a:p>
        </p:txBody>
      </p:sp>
      <p:sp>
        <p:nvSpPr>
          <p:cNvPr id="107" name="Flowchart: Terminator 106">
            <a:extLst>
              <a:ext uri="{FF2B5EF4-FFF2-40B4-BE49-F238E27FC236}">
                <a16:creationId xmlns:a16="http://schemas.microsoft.com/office/drawing/2014/main" id="{B3BB0103-CC02-4962-9E5F-92EC9D4C2418}"/>
              </a:ext>
            </a:extLst>
          </p:cNvPr>
          <p:cNvSpPr/>
          <p:nvPr/>
        </p:nvSpPr>
        <p:spPr>
          <a:xfrm>
            <a:off x="6983480" y="4789315"/>
            <a:ext cx="1257926" cy="257144"/>
          </a:xfrm>
          <a:prstGeom prst="flowChartTerminator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-live prep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925C4D3A-6594-4B63-8D0D-D64E3173F0F0}"/>
              </a:ext>
            </a:extLst>
          </p:cNvPr>
          <p:cNvSpPr/>
          <p:nvPr/>
        </p:nvSpPr>
        <p:spPr>
          <a:xfrm rot="1815289">
            <a:off x="7181453" y="1751985"/>
            <a:ext cx="2498551" cy="435462"/>
          </a:xfrm>
          <a:prstGeom prst="rect">
            <a:avLst/>
          </a:prstGeom>
          <a:solidFill>
            <a:schemeClr val="bg1"/>
          </a:solidFill>
        </p:spPr>
        <p:txBody>
          <a:bodyPr spcFirstLastPara="1" wrap="none" lIns="91440" tIns="45720" rIns="91440" bIns="45720" numCol="1">
            <a:prstTxWarp prst="textArchUp">
              <a:avLst>
                <a:gd name="adj" fmla="val 11240968"/>
              </a:avLst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normalizeH="0" baseline="0" noProof="0" dirty="0">
                <a:ln w="0"/>
                <a:solidFill>
                  <a:schemeClr val="accent1"/>
                </a:solidFill>
                <a:uLnTx/>
                <a:uFillTx/>
                <a:latin typeface="Calibri"/>
                <a:sym typeface="Wingdings" panose="05000000000000000000" pitchFamily="2" charset="2"/>
              </a:rPr>
              <a:t>   </a:t>
            </a:r>
            <a:r>
              <a:rPr kumimoji="0" lang="en-US" sz="1400" i="0" u="none" strike="noStrike" kern="0" normalizeH="0" baseline="0" noProof="0" dirty="0">
                <a:ln w="0"/>
                <a:solidFill>
                  <a:schemeClr val="accent1"/>
                </a:solidFill>
                <a:uLnTx/>
                <a:uFillTx/>
                <a:latin typeface="Calibri"/>
              </a:rPr>
              <a:t>BUILD, VALIDATE, REFINE   ---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97C29D88-95AB-4141-A818-1539B33FC215}"/>
              </a:ext>
            </a:extLst>
          </p:cNvPr>
          <p:cNvSpPr/>
          <p:nvPr/>
        </p:nvSpPr>
        <p:spPr>
          <a:xfrm>
            <a:off x="5283867" y="4110726"/>
            <a:ext cx="658833" cy="270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rPr>
              <a:t>Sprint 2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1AE1E73-BDF5-466E-B546-E29CB8A97213}"/>
              </a:ext>
            </a:extLst>
          </p:cNvPr>
          <p:cNvSpPr/>
          <p:nvPr/>
        </p:nvSpPr>
        <p:spPr>
          <a:xfrm>
            <a:off x="2154632" y="2642391"/>
            <a:ext cx="1801691" cy="55617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37CAD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marL="171446" marR="0" lvl="0" indent="-171446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print backlog</a:t>
            </a:r>
          </a:p>
          <a:p>
            <a:pPr marL="171446" marR="0" lvl="0" indent="-171446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ser story refinement</a:t>
            </a:r>
          </a:p>
          <a:p>
            <a:pPr marL="171446" marR="0" lvl="0" indent="-171446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timation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52F115AB-19D0-493F-9543-9CC03E0A4DF1}"/>
              </a:ext>
            </a:extLst>
          </p:cNvPr>
          <p:cNvCxnSpPr/>
          <p:nvPr/>
        </p:nvCxnSpPr>
        <p:spPr>
          <a:xfrm>
            <a:off x="4950642" y="3068768"/>
            <a:ext cx="0" cy="1041958"/>
          </a:xfrm>
          <a:prstGeom prst="line">
            <a:avLst/>
          </a:prstGeom>
          <a:noFill/>
          <a:ln w="12700" cap="rnd" cmpd="sng" algn="ctr">
            <a:solidFill>
              <a:srgbClr val="ADCDEC">
                <a:lumMod val="50000"/>
              </a:srgbClr>
            </a:solidFill>
            <a:prstDash val="solid"/>
            <a:tailEnd type="oval"/>
          </a:ln>
          <a:effectLst/>
        </p:spPr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74E848E1-CC39-4950-8B5E-C3887B333103}"/>
              </a:ext>
            </a:extLst>
          </p:cNvPr>
          <p:cNvSpPr/>
          <p:nvPr/>
        </p:nvSpPr>
        <p:spPr>
          <a:xfrm>
            <a:off x="4826567" y="2918330"/>
            <a:ext cx="1317386" cy="55617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37CAD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marR="0" lvl="0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de passes quality check and unit testing</a:t>
            </a: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97696277-F555-48F2-96AA-6C0AF0B67999}"/>
              </a:ext>
            </a:extLst>
          </p:cNvPr>
          <p:cNvCxnSpPr/>
          <p:nvPr/>
        </p:nvCxnSpPr>
        <p:spPr>
          <a:xfrm flipV="1">
            <a:off x="5777488" y="4513679"/>
            <a:ext cx="0" cy="881704"/>
          </a:xfrm>
          <a:prstGeom prst="line">
            <a:avLst/>
          </a:prstGeom>
          <a:noFill/>
          <a:ln w="12700" cap="rnd" cmpd="sng" algn="ctr">
            <a:solidFill>
              <a:srgbClr val="137CAD"/>
            </a:solidFill>
            <a:prstDash val="solid"/>
            <a:tailEnd type="oval"/>
          </a:ln>
          <a:effectLst/>
        </p:spPr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91BD0AE0-108C-44E3-A4A8-DE64FF3AC61A}"/>
              </a:ext>
            </a:extLst>
          </p:cNvPr>
          <p:cNvSpPr/>
          <p:nvPr/>
        </p:nvSpPr>
        <p:spPr>
          <a:xfrm>
            <a:off x="5466684" y="5226846"/>
            <a:ext cx="2145427" cy="55617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37CAD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marL="171446" marR="0" lvl="0" indent="-171446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ient Demo</a:t>
            </a:r>
          </a:p>
          <a:p>
            <a:pPr marL="171446" marR="0" lvl="0" indent="-171446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print Retrospective</a:t>
            </a:r>
          </a:p>
          <a:p>
            <a:pPr marL="171446" marR="0" lvl="0" indent="-171446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akeholder report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0AD74C48-6B5B-4889-8AA6-EE934E229843}"/>
              </a:ext>
            </a:extLst>
          </p:cNvPr>
          <p:cNvCxnSpPr/>
          <p:nvPr/>
        </p:nvCxnSpPr>
        <p:spPr>
          <a:xfrm flipV="1">
            <a:off x="4014455" y="4144193"/>
            <a:ext cx="0" cy="1464617"/>
          </a:xfrm>
          <a:prstGeom prst="line">
            <a:avLst/>
          </a:prstGeom>
          <a:noFill/>
          <a:ln w="12700" cap="rnd" cmpd="sng" algn="ctr">
            <a:solidFill>
              <a:srgbClr val="ADCDEC">
                <a:lumMod val="50000"/>
              </a:srgbClr>
            </a:solidFill>
            <a:prstDash val="solid"/>
            <a:tailEnd type="oval"/>
          </a:ln>
          <a:effectLst/>
        </p:spPr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E0BB8469-3358-421E-817C-EC592C5EA309}"/>
              </a:ext>
            </a:extLst>
          </p:cNvPr>
          <p:cNvSpPr/>
          <p:nvPr/>
        </p:nvSpPr>
        <p:spPr>
          <a:xfrm>
            <a:off x="3822482" y="5419581"/>
            <a:ext cx="1308778" cy="40229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37CAD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marR="0" lvl="0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ding and reviewing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CEE340C-0C96-4251-96E8-9B7D1DB0A244}"/>
              </a:ext>
            </a:extLst>
          </p:cNvPr>
          <p:cNvSpPr/>
          <p:nvPr/>
        </p:nvSpPr>
        <p:spPr>
          <a:xfrm>
            <a:off x="7956164" y="3438475"/>
            <a:ext cx="1167324" cy="55617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37CAD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tent editing</a:t>
            </a:r>
          </a:p>
          <a:p>
            <a:pPr marL="0" marR="0" lvl="0" indent="0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O</a:t>
            </a:r>
          </a:p>
          <a:p>
            <a:pPr marL="0" marR="0" lvl="0" indent="0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-directs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D5D5C5D1-56D9-4D05-B09E-9EE5E72931EF}"/>
              </a:ext>
            </a:extLst>
          </p:cNvPr>
          <p:cNvCxnSpPr/>
          <p:nvPr/>
        </p:nvCxnSpPr>
        <p:spPr>
          <a:xfrm>
            <a:off x="8131232" y="3994653"/>
            <a:ext cx="0" cy="938999"/>
          </a:xfrm>
          <a:prstGeom prst="line">
            <a:avLst/>
          </a:prstGeom>
          <a:noFill/>
          <a:ln w="12700" cap="rnd" cmpd="sng" algn="ctr">
            <a:solidFill>
              <a:schemeClr val="tx2">
                <a:lumMod val="75000"/>
                <a:lumOff val="25000"/>
              </a:schemeClr>
            </a:solidFill>
            <a:prstDash val="solid"/>
            <a:tailEnd type="oval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24B4CD17-DEB6-4C93-89EC-0728F415E968}"/>
              </a:ext>
            </a:extLst>
          </p:cNvPr>
          <p:cNvCxnSpPr>
            <a:cxnSpLocks/>
          </p:cNvCxnSpPr>
          <p:nvPr/>
        </p:nvCxnSpPr>
        <p:spPr>
          <a:xfrm>
            <a:off x="4143930" y="2375535"/>
            <a:ext cx="0" cy="1393890"/>
          </a:xfrm>
          <a:prstGeom prst="line">
            <a:avLst/>
          </a:prstGeom>
          <a:noFill/>
          <a:ln w="12700" cap="rnd" cmpd="sng" algn="ctr">
            <a:solidFill>
              <a:srgbClr val="137CAD"/>
            </a:solidFill>
            <a:prstDash val="solid"/>
            <a:tailEnd type="oval"/>
          </a:ln>
          <a:effectLst/>
        </p:spPr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A42297CD-3DA6-484D-8D05-D60AB3BA9F6F}"/>
              </a:ext>
            </a:extLst>
          </p:cNvPr>
          <p:cNvSpPr/>
          <p:nvPr/>
        </p:nvSpPr>
        <p:spPr>
          <a:xfrm>
            <a:off x="3607291" y="1624403"/>
            <a:ext cx="1801692" cy="7790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37CAD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nt Strategist validates site structure, URLs, site maps and taxonomy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763C16F4-6603-4D6D-8998-CDF28B4ADD65}"/>
              </a:ext>
            </a:extLst>
          </p:cNvPr>
          <p:cNvCxnSpPr>
            <a:cxnSpLocks/>
          </p:cNvCxnSpPr>
          <p:nvPr/>
        </p:nvCxnSpPr>
        <p:spPr>
          <a:xfrm>
            <a:off x="3018238" y="3194685"/>
            <a:ext cx="0" cy="571602"/>
          </a:xfrm>
          <a:prstGeom prst="line">
            <a:avLst/>
          </a:prstGeom>
          <a:noFill/>
          <a:ln w="12700" cap="rnd" cmpd="sng" algn="ctr">
            <a:solidFill>
              <a:srgbClr val="137CAD"/>
            </a:solidFill>
            <a:prstDash val="solid"/>
            <a:tailEnd type="oval"/>
          </a:ln>
          <a:effectLst/>
        </p:spPr>
      </p:cxnSp>
      <p:sp>
        <p:nvSpPr>
          <p:cNvPr id="10" name="Flowchart: Terminator 9">
            <a:extLst>
              <a:ext uri="{FF2B5EF4-FFF2-40B4-BE49-F238E27FC236}">
                <a16:creationId xmlns:a16="http://schemas.microsoft.com/office/drawing/2014/main" id="{6EB2345C-4211-4371-A89C-DED20ED4963D}"/>
              </a:ext>
            </a:extLst>
          </p:cNvPr>
          <p:cNvSpPr/>
          <p:nvPr/>
        </p:nvSpPr>
        <p:spPr>
          <a:xfrm>
            <a:off x="8374756" y="4789315"/>
            <a:ext cx="945157" cy="249128"/>
          </a:xfrm>
          <a:prstGeom prst="flowChartTerminator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unch</a:t>
            </a:r>
          </a:p>
        </p:txBody>
      </p:sp>
      <p:sp>
        <p:nvSpPr>
          <p:cNvPr id="109" name="Flowchart: Terminator 108">
            <a:extLst>
              <a:ext uri="{FF2B5EF4-FFF2-40B4-BE49-F238E27FC236}">
                <a16:creationId xmlns:a16="http://schemas.microsoft.com/office/drawing/2014/main" id="{43422625-9D58-4D70-A7D3-C82B0976AA45}"/>
              </a:ext>
            </a:extLst>
          </p:cNvPr>
          <p:cNvSpPr/>
          <p:nvPr/>
        </p:nvSpPr>
        <p:spPr>
          <a:xfrm>
            <a:off x="6034086" y="4534285"/>
            <a:ext cx="945157" cy="249128"/>
          </a:xfrm>
          <a:prstGeom prst="flowChartTerminator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D359018-DB12-4194-89C4-E84662B21D88}"/>
              </a:ext>
            </a:extLst>
          </p:cNvPr>
          <p:cNvSpPr/>
          <p:nvPr/>
        </p:nvSpPr>
        <p:spPr>
          <a:xfrm>
            <a:off x="6473963" y="3308201"/>
            <a:ext cx="1294215" cy="40229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37CAD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usiness approval for go-live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0427E0D-401B-45ED-A6C7-704EE19C505F}"/>
              </a:ext>
            </a:extLst>
          </p:cNvPr>
          <p:cNvCxnSpPr/>
          <p:nvPr/>
        </p:nvCxnSpPr>
        <p:spPr>
          <a:xfrm>
            <a:off x="6865839" y="3712642"/>
            <a:ext cx="0" cy="938999"/>
          </a:xfrm>
          <a:prstGeom prst="line">
            <a:avLst/>
          </a:prstGeom>
          <a:noFill/>
          <a:ln w="12700" cap="rnd" cmpd="sng" algn="ctr">
            <a:solidFill>
              <a:schemeClr val="tx2">
                <a:lumMod val="75000"/>
                <a:lumOff val="25000"/>
              </a:schemeClr>
            </a:solidFill>
            <a:prstDash val="solid"/>
            <a:tail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339852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840019"/>
          </a:xfrm>
        </p:spPr>
        <p:txBody>
          <a:bodyPr/>
          <a:lstStyle/>
          <a:p>
            <a:r>
              <a:rPr lang="en-US" dirty="0"/>
              <a:t>Development</a:t>
            </a:r>
            <a:r>
              <a:rPr lang="en-GB" dirty="0"/>
              <a:t> methodology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9ACC467-9AC9-4DB6-9425-C605A40C0377}"/>
              </a:ext>
            </a:extLst>
          </p:cNvPr>
          <p:cNvGrpSpPr/>
          <p:nvPr/>
        </p:nvGrpSpPr>
        <p:grpSpPr>
          <a:xfrm>
            <a:off x="851758" y="1886612"/>
            <a:ext cx="9970959" cy="4307908"/>
            <a:chOff x="1097510" y="1602132"/>
            <a:chExt cx="9970959" cy="4307908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BE4C7A8-5F6D-48BC-B7A3-07363EB33B5F}"/>
                </a:ext>
              </a:extLst>
            </p:cNvPr>
            <p:cNvSpPr/>
            <p:nvPr/>
          </p:nvSpPr>
          <p:spPr>
            <a:xfrm>
              <a:off x="3306768" y="5599699"/>
              <a:ext cx="4672961" cy="3103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733"/>
                </a:lnSpc>
                <a:spcBef>
                  <a:spcPts val="800"/>
                </a:spcBef>
                <a:spcAft>
                  <a:spcPts val="800"/>
                </a:spcAft>
              </a:pPr>
              <a:r>
                <a:rPr lang="en-GB" sz="1467" dirty="0">
                  <a:solidFill>
                    <a:srgbClr val="2D2D2A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Each agile sprint is of 2 weeks in duration</a:t>
              </a:r>
              <a:endParaRPr lang="en-US" sz="1467" dirty="0">
                <a:solidFill>
                  <a:srgbClr val="2D2D2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3D781B0-CF2E-487C-918D-C1542CEE98A6}"/>
                </a:ext>
              </a:extLst>
            </p:cNvPr>
            <p:cNvGrpSpPr/>
            <p:nvPr/>
          </p:nvGrpSpPr>
          <p:grpSpPr>
            <a:xfrm>
              <a:off x="1097510" y="3219006"/>
              <a:ext cx="2755634" cy="1418248"/>
              <a:chOff x="2461273" y="1581150"/>
              <a:chExt cx="1202033" cy="603467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8C70EA1B-7E6A-47ED-A6A4-A99F3628C3E7}"/>
                  </a:ext>
                </a:extLst>
              </p:cNvPr>
              <p:cNvSpPr/>
              <p:nvPr/>
            </p:nvSpPr>
            <p:spPr>
              <a:xfrm>
                <a:off x="2512213" y="1711569"/>
                <a:ext cx="369020" cy="369020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9E6301E9-9C45-441E-BFEA-EF68EF5BEA01}"/>
                  </a:ext>
                </a:extLst>
              </p:cNvPr>
              <p:cNvSpPr/>
              <p:nvPr/>
            </p:nvSpPr>
            <p:spPr>
              <a:xfrm>
                <a:off x="2835172" y="1711569"/>
                <a:ext cx="369020" cy="369020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FF75B196-7812-42D7-AB98-4E3544AF0104}"/>
                  </a:ext>
                </a:extLst>
              </p:cNvPr>
              <p:cNvSpPr/>
              <p:nvPr/>
            </p:nvSpPr>
            <p:spPr>
              <a:xfrm>
                <a:off x="3154432" y="1711569"/>
                <a:ext cx="369020" cy="369020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F366E695-24D2-4F7F-B8CA-0E52CA4C9055}"/>
                  </a:ext>
                </a:extLst>
              </p:cNvPr>
              <p:cNvSpPr/>
              <p:nvPr/>
            </p:nvSpPr>
            <p:spPr>
              <a:xfrm>
                <a:off x="2760333" y="1798058"/>
                <a:ext cx="190276" cy="190276"/>
              </a:xfrm>
              <a:prstGeom prst="ellipse">
                <a:avLst/>
              </a:prstGeom>
              <a:solidFill>
                <a:srgbClr val="ADCDEC"/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41275942-46FE-4357-9CDA-9429C676F368}"/>
                  </a:ext>
                </a:extLst>
              </p:cNvPr>
              <p:cNvSpPr/>
              <p:nvPr/>
            </p:nvSpPr>
            <p:spPr>
              <a:xfrm>
                <a:off x="3091438" y="1798058"/>
                <a:ext cx="190276" cy="190276"/>
              </a:xfrm>
              <a:prstGeom prst="ellipse">
                <a:avLst/>
              </a:prstGeom>
              <a:solidFill>
                <a:srgbClr val="ADCDEC"/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74385776-BFE3-4C77-A59A-D428BED270A3}"/>
                  </a:ext>
                </a:extLst>
              </p:cNvPr>
              <p:cNvSpPr/>
              <p:nvPr/>
            </p:nvSpPr>
            <p:spPr>
              <a:xfrm>
                <a:off x="3434223" y="1798058"/>
                <a:ext cx="190276" cy="190276"/>
              </a:xfrm>
              <a:prstGeom prst="ellipse">
                <a:avLst/>
              </a:prstGeom>
              <a:solidFill>
                <a:srgbClr val="ADCDEC"/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2E2516EB-C745-486F-BB18-D61575914F7F}"/>
                  </a:ext>
                </a:extLst>
              </p:cNvPr>
              <p:cNvSpPr/>
              <p:nvPr/>
            </p:nvSpPr>
            <p:spPr>
              <a:xfrm>
                <a:off x="3195941" y="1581150"/>
                <a:ext cx="339721" cy="1353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Execute</a:t>
                </a: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30D772C9-20EB-4286-910F-0A81071E7944}"/>
                  </a:ext>
                </a:extLst>
              </p:cNvPr>
              <p:cNvSpPr/>
              <p:nvPr/>
            </p:nvSpPr>
            <p:spPr>
              <a:xfrm>
                <a:off x="2883995" y="1581150"/>
                <a:ext cx="329792" cy="1353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Explore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ABE59D83-478B-423B-936D-E8DE57677383}"/>
                  </a:ext>
                </a:extLst>
              </p:cNvPr>
              <p:cNvSpPr/>
              <p:nvPr/>
            </p:nvSpPr>
            <p:spPr>
              <a:xfrm>
                <a:off x="2461273" y="1581150"/>
                <a:ext cx="470899" cy="1353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Understand</a:t>
                </a:r>
              </a:p>
            </p:txBody>
          </p:sp>
          <p:cxnSp>
            <p:nvCxnSpPr>
              <p:cNvPr id="76" name="Straight Arrow Connector 3">
                <a:extLst>
                  <a:ext uri="{FF2B5EF4-FFF2-40B4-BE49-F238E27FC236}">
                    <a16:creationId xmlns:a16="http://schemas.microsoft.com/office/drawing/2014/main" id="{D99442EC-BC81-47CA-8CB5-8A0B88A5188A}"/>
                  </a:ext>
                </a:extLst>
              </p:cNvPr>
              <p:cNvCxnSpPr/>
              <p:nvPr/>
            </p:nvCxnSpPr>
            <p:spPr>
              <a:xfrm rot="5400000">
                <a:off x="2729970" y="1955088"/>
                <a:ext cx="92255" cy="158747"/>
              </a:xfrm>
              <a:prstGeom prst="bentConnector3">
                <a:avLst>
                  <a:gd name="adj1" fmla="val 250000"/>
                </a:avLst>
              </a:prstGeom>
              <a:noFill/>
              <a:ln w="28575" cap="flat" cmpd="sng" algn="ctr">
                <a:solidFill>
                  <a:srgbClr val="ADCDEC">
                    <a:lumMod val="7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77" name="Straight Arrow Connector 3">
                <a:extLst>
                  <a:ext uri="{FF2B5EF4-FFF2-40B4-BE49-F238E27FC236}">
                    <a16:creationId xmlns:a16="http://schemas.microsoft.com/office/drawing/2014/main" id="{C45E8517-5834-4296-BE0B-5AB1EEC620ED}"/>
                  </a:ext>
                </a:extLst>
              </p:cNvPr>
              <p:cNvCxnSpPr/>
              <p:nvPr/>
            </p:nvCxnSpPr>
            <p:spPr>
              <a:xfrm rot="5400000">
                <a:off x="3057001" y="1951013"/>
                <a:ext cx="92255" cy="166894"/>
              </a:xfrm>
              <a:prstGeom prst="bentConnector3">
                <a:avLst>
                  <a:gd name="adj1" fmla="val 250000"/>
                </a:avLst>
              </a:prstGeom>
              <a:noFill/>
              <a:ln w="28575" cap="flat" cmpd="sng" algn="ctr">
                <a:solidFill>
                  <a:srgbClr val="ADCDEC">
                    <a:lumMod val="7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78" name="Straight Arrow Connector 3">
                <a:extLst>
                  <a:ext uri="{FF2B5EF4-FFF2-40B4-BE49-F238E27FC236}">
                    <a16:creationId xmlns:a16="http://schemas.microsoft.com/office/drawing/2014/main" id="{BC879D5C-845E-4EBA-BFCD-B13956EBF18D}"/>
                  </a:ext>
                </a:extLst>
              </p:cNvPr>
              <p:cNvCxnSpPr/>
              <p:nvPr/>
            </p:nvCxnSpPr>
            <p:spPr>
              <a:xfrm rot="5400000">
                <a:off x="3388024" y="1939251"/>
                <a:ext cx="92255" cy="190420"/>
              </a:xfrm>
              <a:prstGeom prst="bentConnector3">
                <a:avLst>
                  <a:gd name="adj1" fmla="val 250000"/>
                </a:avLst>
              </a:prstGeom>
              <a:noFill/>
              <a:ln w="28575" cap="flat" cmpd="sng" algn="ctr">
                <a:solidFill>
                  <a:srgbClr val="ADCDEC">
                    <a:lumMod val="75000"/>
                  </a:srgbClr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71B6F541-83F1-4197-ACA1-8F7674475C28}"/>
                  </a:ext>
                </a:extLst>
              </p:cNvPr>
              <p:cNvSpPr/>
              <p:nvPr/>
            </p:nvSpPr>
            <p:spPr>
              <a:xfrm>
                <a:off x="3395412" y="2088553"/>
                <a:ext cx="267894" cy="96064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Validate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6C9EB8F0-9CEE-414D-9290-12530CCC5957}"/>
                  </a:ext>
                </a:extLst>
              </p:cNvPr>
              <p:cNvSpPr/>
              <p:nvPr/>
            </p:nvSpPr>
            <p:spPr>
              <a:xfrm>
                <a:off x="3072250" y="2088553"/>
                <a:ext cx="228653" cy="96064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Decide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BAABB588-0AF1-47A0-BF09-2EE9014C01BD}"/>
                  </a:ext>
                </a:extLst>
              </p:cNvPr>
              <p:cNvSpPr/>
              <p:nvPr/>
            </p:nvSpPr>
            <p:spPr>
              <a:xfrm>
                <a:off x="2742249" y="2088553"/>
                <a:ext cx="218136" cy="96064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Define</a:t>
                </a:r>
              </a:p>
            </p:txBody>
          </p:sp>
        </p:grp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0E30B33-E862-48C8-AD07-64E217025ACA}"/>
                </a:ext>
              </a:extLst>
            </p:cNvPr>
            <p:cNvSpPr txBox="1"/>
            <p:nvPr/>
          </p:nvSpPr>
          <p:spPr>
            <a:xfrm>
              <a:off x="1267853" y="2618133"/>
              <a:ext cx="2295072" cy="2689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400" b="1" dirty="0">
                  <a:solidFill>
                    <a:srgbClr val="2D2D2A"/>
                  </a:solidFill>
                  <a:latin typeface="Calibri"/>
                  <a:cs typeface="Calibri"/>
                </a:rPr>
                <a:t>Sprint 1</a:t>
              </a: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5280D778-502C-434E-B339-BD3F69A1D7FD}"/>
                </a:ext>
              </a:extLst>
            </p:cNvPr>
            <p:cNvGrpSpPr/>
            <p:nvPr/>
          </p:nvGrpSpPr>
          <p:grpSpPr>
            <a:xfrm>
              <a:off x="8312835" y="3272976"/>
              <a:ext cx="2755634" cy="1418248"/>
              <a:chOff x="2461273" y="1581150"/>
              <a:chExt cx="1202033" cy="603467"/>
            </a:xfrm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103F79DA-BD31-4187-823C-BB1E0B21D395}"/>
                  </a:ext>
                </a:extLst>
              </p:cNvPr>
              <p:cNvSpPr/>
              <p:nvPr/>
            </p:nvSpPr>
            <p:spPr>
              <a:xfrm>
                <a:off x="2512213" y="1711569"/>
                <a:ext cx="369020" cy="369020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10616808-17FC-4D64-A8ED-03574D99F54F}"/>
                  </a:ext>
                </a:extLst>
              </p:cNvPr>
              <p:cNvSpPr/>
              <p:nvPr/>
            </p:nvSpPr>
            <p:spPr>
              <a:xfrm>
                <a:off x="2835172" y="1711569"/>
                <a:ext cx="369020" cy="369020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1D697B65-B30A-4B20-B705-FA0047F4631F}"/>
                  </a:ext>
                </a:extLst>
              </p:cNvPr>
              <p:cNvSpPr/>
              <p:nvPr/>
            </p:nvSpPr>
            <p:spPr>
              <a:xfrm>
                <a:off x="3154432" y="1711569"/>
                <a:ext cx="369020" cy="369020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203F98FE-19D0-4157-B936-AEE4442DA812}"/>
                  </a:ext>
                </a:extLst>
              </p:cNvPr>
              <p:cNvSpPr/>
              <p:nvPr/>
            </p:nvSpPr>
            <p:spPr>
              <a:xfrm>
                <a:off x="2760333" y="1798058"/>
                <a:ext cx="190276" cy="190276"/>
              </a:xfrm>
              <a:prstGeom prst="ellipse">
                <a:avLst/>
              </a:prstGeom>
              <a:solidFill>
                <a:srgbClr val="ADCDEC"/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1725648D-04FA-4290-A12E-C144880291A0}"/>
                  </a:ext>
                </a:extLst>
              </p:cNvPr>
              <p:cNvSpPr/>
              <p:nvPr/>
            </p:nvSpPr>
            <p:spPr>
              <a:xfrm>
                <a:off x="3091438" y="1798058"/>
                <a:ext cx="190276" cy="190276"/>
              </a:xfrm>
              <a:prstGeom prst="ellipse">
                <a:avLst/>
              </a:prstGeom>
              <a:solidFill>
                <a:srgbClr val="ADCDEC"/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94E4DE53-7140-4CC4-B4CD-4AE28609C26E}"/>
                  </a:ext>
                </a:extLst>
              </p:cNvPr>
              <p:cNvSpPr/>
              <p:nvPr/>
            </p:nvSpPr>
            <p:spPr>
              <a:xfrm>
                <a:off x="3434223" y="1798058"/>
                <a:ext cx="190276" cy="190276"/>
              </a:xfrm>
              <a:prstGeom prst="ellipse">
                <a:avLst/>
              </a:prstGeom>
              <a:solidFill>
                <a:srgbClr val="ADCDEC"/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65671E15-49FB-4721-ACDA-0F6E2A2CE69A}"/>
                  </a:ext>
                </a:extLst>
              </p:cNvPr>
              <p:cNvSpPr/>
              <p:nvPr/>
            </p:nvSpPr>
            <p:spPr>
              <a:xfrm>
                <a:off x="3195941" y="1581150"/>
                <a:ext cx="339721" cy="1353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Execute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47885A61-3963-4B09-B720-952235EBFF0F}"/>
                  </a:ext>
                </a:extLst>
              </p:cNvPr>
              <p:cNvSpPr/>
              <p:nvPr/>
            </p:nvSpPr>
            <p:spPr>
              <a:xfrm>
                <a:off x="2883995" y="1581150"/>
                <a:ext cx="329792" cy="1353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Explore</a:t>
                </a: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F62DCE7-CD17-4B2F-ABB2-42AF60EBF703}"/>
                  </a:ext>
                </a:extLst>
              </p:cNvPr>
              <p:cNvSpPr/>
              <p:nvPr/>
            </p:nvSpPr>
            <p:spPr>
              <a:xfrm>
                <a:off x="2461273" y="1581150"/>
                <a:ext cx="470899" cy="1353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Understand</a:t>
                </a:r>
              </a:p>
            </p:txBody>
          </p:sp>
          <p:cxnSp>
            <p:nvCxnSpPr>
              <p:cNvPr id="93" name="Straight Arrow Connector 3">
                <a:extLst>
                  <a:ext uri="{FF2B5EF4-FFF2-40B4-BE49-F238E27FC236}">
                    <a16:creationId xmlns:a16="http://schemas.microsoft.com/office/drawing/2014/main" id="{389007B6-18ED-4153-A148-821F9A734BD4}"/>
                  </a:ext>
                </a:extLst>
              </p:cNvPr>
              <p:cNvCxnSpPr/>
              <p:nvPr/>
            </p:nvCxnSpPr>
            <p:spPr>
              <a:xfrm rot="5400000">
                <a:off x="2729970" y="1955088"/>
                <a:ext cx="92255" cy="158747"/>
              </a:xfrm>
              <a:prstGeom prst="bentConnector3">
                <a:avLst>
                  <a:gd name="adj1" fmla="val 250000"/>
                </a:avLst>
              </a:prstGeom>
              <a:noFill/>
              <a:ln w="28575" cap="flat" cmpd="sng" algn="ctr">
                <a:solidFill>
                  <a:srgbClr val="ADCDEC">
                    <a:lumMod val="7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94" name="Straight Arrow Connector 3">
                <a:extLst>
                  <a:ext uri="{FF2B5EF4-FFF2-40B4-BE49-F238E27FC236}">
                    <a16:creationId xmlns:a16="http://schemas.microsoft.com/office/drawing/2014/main" id="{E95BBA57-53E5-4D96-A331-4A7106AFAF95}"/>
                  </a:ext>
                </a:extLst>
              </p:cNvPr>
              <p:cNvCxnSpPr/>
              <p:nvPr/>
            </p:nvCxnSpPr>
            <p:spPr>
              <a:xfrm rot="5400000">
                <a:off x="3057001" y="1951013"/>
                <a:ext cx="92255" cy="166894"/>
              </a:xfrm>
              <a:prstGeom prst="bentConnector3">
                <a:avLst>
                  <a:gd name="adj1" fmla="val 250000"/>
                </a:avLst>
              </a:prstGeom>
              <a:noFill/>
              <a:ln w="28575" cap="flat" cmpd="sng" algn="ctr">
                <a:solidFill>
                  <a:srgbClr val="ADCDEC">
                    <a:lumMod val="7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95" name="Straight Arrow Connector 3">
                <a:extLst>
                  <a:ext uri="{FF2B5EF4-FFF2-40B4-BE49-F238E27FC236}">
                    <a16:creationId xmlns:a16="http://schemas.microsoft.com/office/drawing/2014/main" id="{668FFA10-158D-43F0-A0FF-E7A8CDFD370E}"/>
                  </a:ext>
                </a:extLst>
              </p:cNvPr>
              <p:cNvCxnSpPr/>
              <p:nvPr/>
            </p:nvCxnSpPr>
            <p:spPr>
              <a:xfrm rot="5400000">
                <a:off x="3388024" y="1939251"/>
                <a:ext cx="92255" cy="190420"/>
              </a:xfrm>
              <a:prstGeom prst="bentConnector3">
                <a:avLst>
                  <a:gd name="adj1" fmla="val 250000"/>
                </a:avLst>
              </a:prstGeom>
              <a:noFill/>
              <a:ln w="28575" cap="flat" cmpd="sng" algn="ctr">
                <a:solidFill>
                  <a:srgbClr val="ADCDEC">
                    <a:lumMod val="75000"/>
                  </a:srgbClr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6BBCABF9-96D9-4DEE-949C-902753C35E86}"/>
                  </a:ext>
                </a:extLst>
              </p:cNvPr>
              <p:cNvSpPr/>
              <p:nvPr/>
            </p:nvSpPr>
            <p:spPr>
              <a:xfrm>
                <a:off x="3395412" y="2088553"/>
                <a:ext cx="267894" cy="96064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Validate</a:t>
                </a: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B84FCB05-7F88-4512-8B97-441BD4EAFABB}"/>
                  </a:ext>
                </a:extLst>
              </p:cNvPr>
              <p:cNvSpPr/>
              <p:nvPr/>
            </p:nvSpPr>
            <p:spPr>
              <a:xfrm>
                <a:off x="3072250" y="2088553"/>
                <a:ext cx="228653" cy="96064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Decide</a:t>
                </a: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6C9A47C9-8624-4B91-BBF1-6EEFDCAB99CD}"/>
                  </a:ext>
                </a:extLst>
              </p:cNvPr>
              <p:cNvSpPr/>
              <p:nvPr/>
            </p:nvSpPr>
            <p:spPr>
              <a:xfrm>
                <a:off x="2742249" y="2088553"/>
                <a:ext cx="218136" cy="96064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Define</a:t>
                </a: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10F10383-BB6F-430E-B30F-C55A4159B5CE}"/>
                </a:ext>
              </a:extLst>
            </p:cNvPr>
            <p:cNvGrpSpPr/>
            <p:nvPr/>
          </p:nvGrpSpPr>
          <p:grpSpPr>
            <a:xfrm>
              <a:off x="4198609" y="3219006"/>
              <a:ext cx="2755634" cy="1418248"/>
              <a:chOff x="2461273" y="1581150"/>
              <a:chExt cx="1202033" cy="603467"/>
            </a:xfrm>
          </p:grpSpPr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ED97FFD6-5644-4A95-AB1D-BEC75847327E}"/>
                  </a:ext>
                </a:extLst>
              </p:cNvPr>
              <p:cNvSpPr/>
              <p:nvPr/>
            </p:nvSpPr>
            <p:spPr>
              <a:xfrm>
                <a:off x="2512213" y="1711569"/>
                <a:ext cx="369020" cy="369020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AEE7FCC8-9352-40CE-84FD-043A083A72AE}"/>
                  </a:ext>
                </a:extLst>
              </p:cNvPr>
              <p:cNvSpPr/>
              <p:nvPr/>
            </p:nvSpPr>
            <p:spPr>
              <a:xfrm>
                <a:off x="2835172" y="1711569"/>
                <a:ext cx="369020" cy="369020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BF476D7B-64D1-41EE-9971-9114A8D608FF}"/>
                  </a:ext>
                </a:extLst>
              </p:cNvPr>
              <p:cNvSpPr/>
              <p:nvPr/>
            </p:nvSpPr>
            <p:spPr>
              <a:xfrm>
                <a:off x="3154432" y="1711569"/>
                <a:ext cx="369020" cy="369020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2F3E519E-5C3E-4341-BBB7-5CB1694AA98D}"/>
                  </a:ext>
                </a:extLst>
              </p:cNvPr>
              <p:cNvSpPr/>
              <p:nvPr/>
            </p:nvSpPr>
            <p:spPr>
              <a:xfrm>
                <a:off x="2760333" y="1798058"/>
                <a:ext cx="190276" cy="190276"/>
              </a:xfrm>
              <a:prstGeom prst="ellipse">
                <a:avLst/>
              </a:prstGeom>
              <a:solidFill>
                <a:srgbClr val="ADCDEC"/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E404AE17-56D5-496E-9738-B9273F20262B}"/>
                  </a:ext>
                </a:extLst>
              </p:cNvPr>
              <p:cNvSpPr/>
              <p:nvPr/>
            </p:nvSpPr>
            <p:spPr>
              <a:xfrm>
                <a:off x="3091438" y="1798058"/>
                <a:ext cx="190276" cy="190276"/>
              </a:xfrm>
              <a:prstGeom prst="ellipse">
                <a:avLst/>
              </a:prstGeom>
              <a:solidFill>
                <a:srgbClr val="ADCDEC"/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909AA517-82E7-46E8-AC87-DD3B34E549F0}"/>
                  </a:ext>
                </a:extLst>
              </p:cNvPr>
              <p:cNvSpPr/>
              <p:nvPr/>
            </p:nvSpPr>
            <p:spPr>
              <a:xfrm>
                <a:off x="3434223" y="1798058"/>
                <a:ext cx="190276" cy="190276"/>
              </a:xfrm>
              <a:prstGeom prst="ellipse">
                <a:avLst/>
              </a:prstGeom>
              <a:solidFill>
                <a:srgbClr val="ADCDEC"/>
              </a:solidFill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lIns="60960" rIns="60960" rtlCol="0" anchor="ctr">
                <a:norm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BC04FC79-4EF9-46F6-AA78-ACE4FF9C3532}"/>
                  </a:ext>
                </a:extLst>
              </p:cNvPr>
              <p:cNvSpPr/>
              <p:nvPr/>
            </p:nvSpPr>
            <p:spPr>
              <a:xfrm>
                <a:off x="3195941" y="1581150"/>
                <a:ext cx="339721" cy="1353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Execute</a:t>
                </a: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1176C503-9811-416F-A071-B1AF3342A9FB}"/>
                  </a:ext>
                </a:extLst>
              </p:cNvPr>
              <p:cNvSpPr/>
              <p:nvPr/>
            </p:nvSpPr>
            <p:spPr>
              <a:xfrm>
                <a:off x="2883995" y="1581150"/>
                <a:ext cx="329792" cy="1353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Explore</a:t>
                </a:r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FAAC264A-EB2E-419C-9E2E-A5F5EAEA8944}"/>
                  </a:ext>
                </a:extLst>
              </p:cNvPr>
              <p:cNvSpPr/>
              <p:nvPr/>
            </p:nvSpPr>
            <p:spPr>
              <a:xfrm>
                <a:off x="2461273" y="1581150"/>
                <a:ext cx="470899" cy="1353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Understand</a:t>
                </a:r>
              </a:p>
            </p:txBody>
          </p:sp>
          <p:cxnSp>
            <p:nvCxnSpPr>
              <p:cNvPr id="109" name="Straight Arrow Connector 3">
                <a:extLst>
                  <a:ext uri="{FF2B5EF4-FFF2-40B4-BE49-F238E27FC236}">
                    <a16:creationId xmlns:a16="http://schemas.microsoft.com/office/drawing/2014/main" id="{2CECEB9E-8240-4C87-86A2-EEDFBCEAEA3A}"/>
                  </a:ext>
                </a:extLst>
              </p:cNvPr>
              <p:cNvCxnSpPr/>
              <p:nvPr/>
            </p:nvCxnSpPr>
            <p:spPr>
              <a:xfrm rot="5400000">
                <a:off x="2729970" y="1955088"/>
                <a:ext cx="92255" cy="158747"/>
              </a:xfrm>
              <a:prstGeom prst="bentConnector3">
                <a:avLst>
                  <a:gd name="adj1" fmla="val 250000"/>
                </a:avLst>
              </a:prstGeom>
              <a:noFill/>
              <a:ln w="28575" cap="flat" cmpd="sng" algn="ctr">
                <a:solidFill>
                  <a:srgbClr val="ADCDEC">
                    <a:lumMod val="7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110" name="Straight Arrow Connector 3">
                <a:extLst>
                  <a:ext uri="{FF2B5EF4-FFF2-40B4-BE49-F238E27FC236}">
                    <a16:creationId xmlns:a16="http://schemas.microsoft.com/office/drawing/2014/main" id="{0AC0D46F-1033-4501-AA3C-5837DE1C7CCC}"/>
                  </a:ext>
                </a:extLst>
              </p:cNvPr>
              <p:cNvCxnSpPr/>
              <p:nvPr/>
            </p:nvCxnSpPr>
            <p:spPr>
              <a:xfrm rot="5400000">
                <a:off x="3057001" y="1951013"/>
                <a:ext cx="92255" cy="166894"/>
              </a:xfrm>
              <a:prstGeom prst="bentConnector3">
                <a:avLst>
                  <a:gd name="adj1" fmla="val 250000"/>
                </a:avLst>
              </a:prstGeom>
              <a:noFill/>
              <a:ln w="28575" cap="flat" cmpd="sng" algn="ctr">
                <a:solidFill>
                  <a:srgbClr val="ADCDEC">
                    <a:lumMod val="7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111" name="Straight Arrow Connector 3">
                <a:extLst>
                  <a:ext uri="{FF2B5EF4-FFF2-40B4-BE49-F238E27FC236}">
                    <a16:creationId xmlns:a16="http://schemas.microsoft.com/office/drawing/2014/main" id="{F8B4C837-1E0B-4818-9B44-75D892E0A8A2}"/>
                  </a:ext>
                </a:extLst>
              </p:cNvPr>
              <p:cNvCxnSpPr/>
              <p:nvPr/>
            </p:nvCxnSpPr>
            <p:spPr>
              <a:xfrm rot="5400000">
                <a:off x="3388024" y="1939251"/>
                <a:ext cx="92255" cy="190420"/>
              </a:xfrm>
              <a:prstGeom prst="bentConnector3">
                <a:avLst>
                  <a:gd name="adj1" fmla="val 250000"/>
                </a:avLst>
              </a:prstGeom>
              <a:noFill/>
              <a:ln w="28575" cap="flat" cmpd="sng" algn="ctr">
                <a:solidFill>
                  <a:srgbClr val="ADCDEC">
                    <a:lumMod val="75000"/>
                  </a:srgbClr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CE1BFB47-BCE9-4192-9B58-E8E78FC0F9F6}"/>
                  </a:ext>
                </a:extLst>
              </p:cNvPr>
              <p:cNvSpPr/>
              <p:nvPr/>
            </p:nvSpPr>
            <p:spPr>
              <a:xfrm>
                <a:off x="3395412" y="2088553"/>
                <a:ext cx="267894" cy="96064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Validate</a:t>
                </a: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983E0A54-837B-4EBC-817D-1493DBEF6EFA}"/>
                  </a:ext>
                </a:extLst>
              </p:cNvPr>
              <p:cNvSpPr/>
              <p:nvPr/>
            </p:nvSpPr>
            <p:spPr>
              <a:xfrm>
                <a:off x="3072250" y="2088553"/>
                <a:ext cx="228653" cy="96064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Decide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B83945D1-DA9D-47FF-948A-5E38FAD66BF9}"/>
                  </a:ext>
                </a:extLst>
              </p:cNvPr>
              <p:cNvSpPr/>
              <p:nvPr/>
            </p:nvSpPr>
            <p:spPr>
              <a:xfrm>
                <a:off x="2742249" y="2088553"/>
                <a:ext cx="218136" cy="96064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Define</a:t>
                </a:r>
              </a:p>
            </p:txBody>
          </p:sp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9D5CD80-EBDE-4025-92D7-7C3741F095A3}"/>
                </a:ext>
              </a:extLst>
            </p:cNvPr>
            <p:cNvSpPr txBox="1"/>
            <p:nvPr/>
          </p:nvSpPr>
          <p:spPr>
            <a:xfrm>
              <a:off x="4324923" y="2623577"/>
              <a:ext cx="2295072" cy="2689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400" b="1" dirty="0">
                  <a:solidFill>
                    <a:srgbClr val="2D2D2A"/>
                  </a:solidFill>
                  <a:latin typeface="Calibri"/>
                  <a:cs typeface="Calibri"/>
                </a:rPr>
                <a:t>Sprint 2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F29C5CC5-92E7-49AB-AABE-7E2FAD72F558}"/>
                </a:ext>
              </a:extLst>
            </p:cNvPr>
            <p:cNvSpPr txBox="1"/>
            <p:nvPr/>
          </p:nvSpPr>
          <p:spPr>
            <a:xfrm>
              <a:off x="8466327" y="2668509"/>
              <a:ext cx="2295072" cy="2689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400" b="1" dirty="0">
                  <a:solidFill>
                    <a:srgbClr val="2D2D2A"/>
                  </a:solidFill>
                  <a:latin typeface="Calibri"/>
                  <a:cs typeface="Calibri"/>
                </a:rPr>
                <a:t>Sprint n</a:t>
              </a: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8251A474-0B46-482F-B4D3-C72CB566058C}"/>
                </a:ext>
              </a:extLst>
            </p:cNvPr>
            <p:cNvGrpSpPr/>
            <p:nvPr/>
          </p:nvGrpSpPr>
          <p:grpSpPr>
            <a:xfrm>
              <a:off x="7138051" y="2814188"/>
              <a:ext cx="496380" cy="62216"/>
              <a:chOff x="5131978" y="2582353"/>
              <a:chExt cx="372285" cy="46662"/>
            </a:xfrm>
          </p:grpSpPr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AEED205F-51F1-4715-97B1-87692E819FAD}"/>
                  </a:ext>
                </a:extLst>
              </p:cNvPr>
              <p:cNvSpPr/>
              <p:nvPr/>
            </p:nvSpPr>
            <p:spPr>
              <a:xfrm>
                <a:off x="5131978" y="2583296"/>
                <a:ext cx="67485" cy="45719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C6F8B01E-28EE-47BB-8E63-82AD93BDB259}"/>
                  </a:ext>
                </a:extLst>
              </p:cNvPr>
              <p:cNvSpPr/>
              <p:nvPr/>
            </p:nvSpPr>
            <p:spPr>
              <a:xfrm>
                <a:off x="5284378" y="2582353"/>
                <a:ext cx="67485" cy="45719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938812FA-17C9-49D6-965B-7E443DC038A7}"/>
                  </a:ext>
                </a:extLst>
              </p:cNvPr>
              <p:cNvSpPr/>
              <p:nvPr/>
            </p:nvSpPr>
            <p:spPr>
              <a:xfrm>
                <a:off x="5436778" y="2582353"/>
                <a:ext cx="67485" cy="45719"/>
              </a:xfrm>
              <a:prstGeom prst="ellipse">
                <a:avLst/>
              </a:prstGeom>
              <a:solidFill>
                <a:srgbClr val="ADCDEC">
                  <a:lumMod val="2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aphicFrame>
          <p:nvGraphicFramePr>
            <p:cNvPr id="121" name="Diagram 120">
              <a:extLst>
                <a:ext uri="{FF2B5EF4-FFF2-40B4-BE49-F238E27FC236}">
                  <a16:creationId xmlns:a16="http://schemas.microsoft.com/office/drawing/2014/main" id="{0EEB8488-108B-4010-98BE-89594D5F014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03742961"/>
                </p:ext>
              </p:extLst>
            </p:nvPr>
          </p:nvGraphicFramePr>
          <p:xfrm>
            <a:off x="1214289" y="1602132"/>
            <a:ext cx="9832555" cy="70289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</p:grp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9EAE6D0E-8B26-4932-9857-E98EA2B345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9582" y="6464682"/>
            <a:ext cx="4552274" cy="333889"/>
          </a:xfrm>
        </p:spPr>
        <p:txBody>
          <a:bodyPr/>
          <a:lstStyle/>
          <a:p>
            <a:pPr algn="ctr"/>
            <a:r>
              <a:rPr lang="en-GB" sz="1200" dirty="0"/>
              <a:t>Recommended for AEM development [Srinivas Gopinath Parimi]</a:t>
            </a:r>
          </a:p>
        </p:txBody>
      </p:sp>
    </p:spTree>
    <p:extLst>
      <p:ext uri="{BB962C8B-B14F-4D97-AF65-F5344CB8AC3E}">
        <p14:creationId xmlns:p14="http://schemas.microsoft.com/office/powerpoint/2010/main" val="266905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61BF1BC8-CA02-45F0-B201-5E0563F0F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nceptual Architecture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727564D-BB5B-4B6D-B84E-E2D6CDACDD4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CF41B098-6372-4E8F-AFAF-BC4E5C8595D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291015" y="2868418"/>
            <a:ext cx="2759201" cy="560582"/>
          </a:xfrm>
        </p:spPr>
        <p:txBody>
          <a:bodyPr/>
          <a:lstStyle/>
          <a:p>
            <a:r>
              <a:rPr lang="en-US" dirty="0"/>
              <a:t>Logical Architecture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005F0F6D-E189-47D2-B740-B617B7766BC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DBB4D1A-D229-4484-AF0C-09D5BF42BB9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291015" y="4258954"/>
            <a:ext cx="2759201" cy="678805"/>
          </a:xfrm>
        </p:spPr>
        <p:txBody>
          <a:bodyPr/>
          <a:lstStyle/>
          <a:p>
            <a:r>
              <a:rPr lang="en-US" dirty="0"/>
              <a:t>Physical topology</a:t>
            </a:r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D28C8312-1993-46A0-99F3-B2ACFCC571B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136900AB-508A-41E3-BA5D-A1EAC3E19D0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061465" y="1477880"/>
            <a:ext cx="2880268" cy="712633"/>
          </a:xfrm>
        </p:spPr>
        <p:txBody>
          <a:bodyPr/>
          <a:lstStyle/>
          <a:p>
            <a:r>
              <a:rPr lang="en-US" dirty="0"/>
              <a:t>CI/CD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445178D0-1182-4FF9-B437-E8677A5A246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29" name="Titel 28">
            <a:extLst>
              <a:ext uri="{FF2B5EF4-FFF2-40B4-BE49-F238E27FC236}">
                <a16:creationId xmlns:a16="http://schemas.microsoft.com/office/drawing/2014/main" id="{8643D38E-CE85-4434-B478-CEE51E2F4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4317F5EC-1D39-4255-9493-6C162ACE51AD}"/>
              </a:ext>
            </a:extLst>
          </p:cNvPr>
          <p:cNvSpPr txBox="1">
            <a:spLocks/>
          </p:cNvSpPr>
          <p:nvPr/>
        </p:nvSpPr>
        <p:spPr>
          <a:xfrm>
            <a:off x="5061465" y="2868417"/>
            <a:ext cx="2880268" cy="7126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velopment model</a:t>
            </a:r>
          </a:p>
        </p:txBody>
      </p:sp>
      <p:sp>
        <p:nvSpPr>
          <p:cNvPr id="14" name="Tijdelijke aanduiding voor tekst 12">
            <a:extLst>
              <a:ext uri="{FF2B5EF4-FFF2-40B4-BE49-F238E27FC236}">
                <a16:creationId xmlns:a16="http://schemas.microsoft.com/office/drawing/2014/main" id="{77234180-C9A6-4F8C-B1E1-7594A757D3C2}"/>
              </a:ext>
            </a:extLst>
          </p:cNvPr>
          <p:cNvSpPr txBox="1">
            <a:spLocks/>
          </p:cNvSpPr>
          <p:nvPr/>
        </p:nvSpPr>
        <p:spPr>
          <a:xfrm>
            <a:off x="4328531" y="2868418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5</a:t>
            </a:r>
          </a:p>
        </p:txBody>
      </p:sp>
      <p:sp>
        <p:nvSpPr>
          <p:cNvPr id="15" name="Tijdelijke aanduiding voor tekst 10">
            <a:extLst>
              <a:ext uri="{FF2B5EF4-FFF2-40B4-BE49-F238E27FC236}">
                <a16:creationId xmlns:a16="http://schemas.microsoft.com/office/drawing/2014/main" id="{748E04B0-11A1-4BD0-97EB-88192D0D7F0C}"/>
              </a:ext>
            </a:extLst>
          </p:cNvPr>
          <p:cNvSpPr txBox="1">
            <a:spLocks/>
          </p:cNvSpPr>
          <p:nvPr/>
        </p:nvSpPr>
        <p:spPr>
          <a:xfrm>
            <a:off x="5061465" y="4258954"/>
            <a:ext cx="2880268" cy="7126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in features</a:t>
            </a:r>
          </a:p>
        </p:txBody>
      </p:sp>
      <p:sp>
        <p:nvSpPr>
          <p:cNvPr id="16" name="Tijdelijke aanduiding voor tekst 12">
            <a:extLst>
              <a:ext uri="{FF2B5EF4-FFF2-40B4-BE49-F238E27FC236}">
                <a16:creationId xmlns:a16="http://schemas.microsoft.com/office/drawing/2014/main" id="{96912BE8-4847-4224-9C2D-558FE5912252}"/>
              </a:ext>
            </a:extLst>
          </p:cNvPr>
          <p:cNvSpPr txBox="1">
            <a:spLocks/>
          </p:cNvSpPr>
          <p:nvPr/>
        </p:nvSpPr>
        <p:spPr>
          <a:xfrm>
            <a:off x="4328531" y="4258955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6</a:t>
            </a:r>
          </a:p>
        </p:txBody>
      </p:sp>
      <p:sp>
        <p:nvSpPr>
          <p:cNvPr id="17" name="Tijdelijke aanduiding voor tekst 10">
            <a:extLst>
              <a:ext uri="{FF2B5EF4-FFF2-40B4-BE49-F238E27FC236}">
                <a16:creationId xmlns:a16="http://schemas.microsoft.com/office/drawing/2014/main" id="{19F847C3-0F29-456E-9FF0-2CDFAAA2B060}"/>
              </a:ext>
            </a:extLst>
          </p:cNvPr>
          <p:cNvSpPr txBox="1">
            <a:spLocks/>
          </p:cNvSpPr>
          <p:nvPr/>
        </p:nvSpPr>
        <p:spPr>
          <a:xfrm>
            <a:off x="8952982" y="1477880"/>
            <a:ext cx="2880268" cy="7126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Governance</a:t>
            </a:r>
          </a:p>
        </p:txBody>
      </p:sp>
      <p:sp>
        <p:nvSpPr>
          <p:cNvPr id="18" name="Tijdelijke aanduiding voor tekst 12">
            <a:extLst>
              <a:ext uri="{FF2B5EF4-FFF2-40B4-BE49-F238E27FC236}">
                <a16:creationId xmlns:a16="http://schemas.microsoft.com/office/drawing/2014/main" id="{BDDF6CD8-C04E-48B3-AD5E-FEF980D2D7C4}"/>
              </a:ext>
            </a:extLst>
          </p:cNvPr>
          <p:cNvSpPr txBox="1">
            <a:spLocks/>
          </p:cNvSpPr>
          <p:nvPr/>
        </p:nvSpPr>
        <p:spPr>
          <a:xfrm>
            <a:off x="8220048" y="1477881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7</a:t>
            </a:r>
          </a:p>
        </p:txBody>
      </p:sp>
      <p:sp>
        <p:nvSpPr>
          <p:cNvPr id="19" name="Tijdelijke aanduiding voor tekst 10">
            <a:extLst>
              <a:ext uri="{FF2B5EF4-FFF2-40B4-BE49-F238E27FC236}">
                <a16:creationId xmlns:a16="http://schemas.microsoft.com/office/drawing/2014/main" id="{D8616F4D-905A-4AF0-929A-839CA168A18F}"/>
              </a:ext>
            </a:extLst>
          </p:cNvPr>
          <p:cNvSpPr txBox="1">
            <a:spLocks/>
          </p:cNvSpPr>
          <p:nvPr/>
        </p:nvSpPr>
        <p:spPr>
          <a:xfrm>
            <a:off x="8944285" y="2857784"/>
            <a:ext cx="2880268" cy="7126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ffort estimation </a:t>
            </a:r>
          </a:p>
          <a:p>
            <a:r>
              <a:rPr lang="en-US" sz="1600" dirty="0"/>
              <a:t>    – ADX SPA Analytics</a:t>
            </a:r>
          </a:p>
        </p:txBody>
      </p:sp>
      <p:sp>
        <p:nvSpPr>
          <p:cNvPr id="20" name="Tijdelijke aanduiding voor tekst 12">
            <a:extLst>
              <a:ext uri="{FF2B5EF4-FFF2-40B4-BE49-F238E27FC236}">
                <a16:creationId xmlns:a16="http://schemas.microsoft.com/office/drawing/2014/main" id="{4822DDF6-65A2-4136-ACDA-D9E9B12F9C4F}"/>
              </a:ext>
            </a:extLst>
          </p:cNvPr>
          <p:cNvSpPr txBox="1">
            <a:spLocks/>
          </p:cNvSpPr>
          <p:nvPr/>
        </p:nvSpPr>
        <p:spPr>
          <a:xfrm>
            <a:off x="8211351" y="2857785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8</a:t>
            </a:r>
          </a:p>
        </p:txBody>
      </p:sp>
      <p:sp>
        <p:nvSpPr>
          <p:cNvPr id="21" name="Tijdelijke aanduiding voor tekst 10">
            <a:extLst>
              <a:ext uri="{FF2B5EF4-FFF2-40B4-BE49-F238E27FC236}">
                <a16:creationId xmlns:a16="http://schemas.microsoft.com/office/drawing/2014/main" id="{8713454E-89F6-4A5B-9B1F-09F376535996}"/>
              </a:ext>
            </a:extLst>
          </p:cNvPr>
          <p:cNvSpPr txBox="1">
            <a:spLocks/>
          </p:cNvSpPr>
          <p:nvPr/>
        </p:nvSpPr>
        <p:spPr>
          <a:xfrm>
            <a:off x="8952982" y="4311171"/>
            <a:ext cx="2880268" cy="7126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pendix</a:t>
            </a:r>
          </a:p>
        </p:txBody>
      </p:sp>
      <p:sp>
        <p:nvSpPr>
          <p:cNvPr id="22" name="Tijdelijke aanduiding voor tekst 12">
            <a:extLst>
              <a:ext uri="{FF2B5EF4-FFF2-40B4-BE49-F238E27FC236}">
                <a16:creationId xmlns:a16="http://schemas.microsoft.com/office/drawing/2014/main" id="{EBE22FF7-9329-4537-BB5D-00BE8BC2916E}"/>
              </a:ext>
            </a:extLst>
          </p:cNvPr>
          <p:cNvSpPr txBox="1">
            <a:spLocks/>
          </p:cNvSpPr>
          <p:nvPr/>
        </p:nvSpPr>
        <p:spPr>
          <a:xfrm>
            <a:off x="8220048" y="4311172"/>
            <a:ext cx="688393" cy="7572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68756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833119"/>
          </a:xfrm>
        </p:spPr>
        <p:txBody>
          <a:bodyPr/>
          <a:lstStyle/>
          <a:p>
            <a:r>
              <a:rPr lang="en-US" b="1" dirty="0"/>
              <a:t>Content Publishing Process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17957762"/>
              </p:ext>
            </p:extLst>
          </p:nvPr>
        </p:nvGraphicFramePr>
        <p:xfrm>
          <a:off x="2244607" y="1051560"/>
          <a:ext cx="8123673" cy="52818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7077E51-8DF0-4579-9207-3F9CA2373C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9582" y="6464682"/>
            <a:ext cx="4552274" cy="333889"/>
          </a:xfrm>
        </p:spPr>
        <p:txBody>
          <a:bodyPr/>
          <a:lstStyle/>
          <a:p>
            <a:pPr algn="ctr"/>
            <a:r>
              <a:rPr lang="en-GB" sz="1200" dirty="0"/>
              <a:t>Recommended for AEM sites [Srinivas Gopinath Parimi]</a:t>
            </a:r>
          </a:p>
        </p:txBody>
      </p:sp>
    </p:spTree>
    <p:extLst>
      <p:ext uri="{BB962C8B-B14F-4D97-AF65-F5344CB8AC3E}">
        <p14:creationId xmlns:p14="http://schemas.microsoft.com/office/powerpoint/2010/main" val="3869112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29443"/>
          </a:xfrm>
        </p:spPr>
        <p:txBody>
          <a:bodyPr/>
          <a:lstStyle/>
          <a:p>
            <a:r>
              <a:rPr lang="en-US" b="1" dirty="0"/>
              <a:t>Project Governance</a:t>
            </a:r>
          </a:p>
        </p:txBody>
      </p:sp>
      <p:sp>
        <p:nvSpPr>
          <p:cNvPr id="3" name="Rectangle 2"/>
          <p:cNvSpPr/>
          <p:nvPr/>
        </p:nvSpPr>
        <p:spPr>
          <a:xfrm>
            <a:off x="479109" y="902658"/>
            <a:ext cx="11233782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800"/>
              </a:spcBef>
              <a:spcAft>
                <a:spcPts val="800"/>
              </a:spcAft>
            </a:pPr>
            <a:r>
              <a:rPr lang="en-US" sz="1467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 Tiers &amp; 2 Pillars governance model offers Aegon </a:t>
            </a:r>
            <a:r>
              <a:rPr lang="en-GB" sz="1467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ght control and transparency throughout the project, along with </a:t>
            </a:r>
            <a:r>
              <a:rPr lang="en-US" sz="1467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ge on digital practice and support systems of partner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2AFCC48-CEEB-478E-BA22-CFA008FFB467}"/>
              </a:ext>
            </a:extLst>
          </p:cNvPr>
          <p:cNvGrpSpPr/>
          <p:nvPr/>
        </p:nvGrpSpPr>
        <p:grpSpPr>
          <a:xfrm>
            <a:off x="579438" y="2082115"/>
            <a:ext cx="10652467" cy="3731242"/>
            <a:chOff x="579438" y="2082115"/>
            <a:chExt cx="10652467" cy="373124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574F922-DD2A-4E80-BA1F-3EBF713DD56D}"/>
                </a:ext>
              </a:extLst>
            </p:cNvPr>
            <p:cNvGrpSpPr/>
            <p:nvPr/>
          </p:nvGrpSpPr>
          <p:grpSpPr>
            <a:xfrm>
              <a:off x="1764462" y="2086559"/>
              <a:ext cx="4347368" cy="3726798"/>
              <a:chOff x="1761534" y="2170285"/>
              <a:chExt cx="4347368" cy="3726798"/>
            </a:xfrm>
          </p:grpSpPr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DA2AC1D1-1871-4DBF-A8C7-A582B4E25BA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761534" y="2170285"/>
                <a:ext cx="4334466" cy="566531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0" rIns="0" bIns="0" anchor="ctr" anchorCtr="1">
                <a:noAutofit/>
              </a:bodyPr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</a:rPr>
                  <a:t>Risk Mitigation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581ED7D6-5007-4451-8DB0-4C824274BE1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 bwMode="auto">
              <a:xfrm>
                <a:off x="3557106" y="2813638"/>
                <a:ext cx="1152042" cy="342088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24384" tIns="24384" rIns="24384" bIns="24384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</a:rPr>
                  <a:t>Contracts</a:t>
                </a: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6E36E283-9D94-4059-9E9A-A75A9B5DB5C3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 bwMode="auto">
              <a:xfrm>
                <a:off x="1773113" y="2813639"/>
                <a:ext cx="1707711" cy="342088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24384" tIns="24384" rIns="24384" bIns="24384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</a:rPr>
                  <a:t>Risk &amp; Compliance</a:t>
                </a: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BE2E5024-2C67-42F0-8835-4A5A52037034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 bwMode="auto">
              <a:xfrm>
                <a:off x="4819802" y="2813886"/>
                <a:ext cx="1278059" cy="342089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24384" tIns="24384" rIns="24384" bIns="24384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</a:rPr>
                  <a:t>Financials</a:t>
                </a:r>
              </a:p>
            </p:txBody>
          </p:sp>
          <p:sp>
            <p:nvSpPr>
              <p:cNvPr id="131" name="AutoShape 38">
                <a:extLst>
                  <a:ext uri="{FF2B5EF4-FFF2-40B4-BE49-F238E27FC236}">
                    <a16:creationId xmlns:a16="http://schemas.microsoft.com/office/drawing/2014/main" id="{A47EDA91-FD7B-4DF6-98C1-6FEC0A21B3B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761535" y="5159451"/>
                <a:ext cx="1166982" cy="73763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square" lIns="12192" tIns="12192" rIns="12192" bIns="12192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Operations meetings</a:t>
                </a:r>
              </a:p>
            </p:txBody>
          </p:sp>
          <p:sp>
            <p:nvSpPr>
              <p:cNvPr id="132" name="AutoShape 28">
                <a:extLst>
                  <a:ext uri="{FF2B5EF4-FFF2-40B4-BE49-F238E27FC236}">
                    <a16:creationId xmlns:a16="http://schemas.microsoft.com/office/drawing/2014/main" id="{7E54EABC-2850-4368-80A7-070F8D49DB0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761535" y="4350624"/>
                <a:ext cx="1166982" cy="71963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square" lIns="12192" tIns="12192" rIns="12192" bIns="12192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Project Working Committee</a:t>
                </a:r>
              </a:p>
            </p:txBody>
          </p:sp>
          <p:sp>
            <p:nvSpPr>
              <p:cNvPr id="133" name="AutoShape 13">
                <a:extLst>
                  <a:ext uri="{FF2B5EF4-FFF2-40B4-BE49-F238E27FC236}">
                    <a16:creationId xmlns:a16="http://schemas.microsoft.com/office/drawing/2014/main" id="{0001A480-5BEC-49A0-98C4-3FB958B87CD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761535" y="3739191"/>
                <a:ext cx="1166982" cy="54866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lIns="12192" tIns="12192" rIns="12192" bIns="12192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Project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Steering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Committee</a:t>
                </a:r>
              </a:p>
            </p:txBody>
          </p:sp>
          <p:sp>
            <p:nvSpPr>
              <p:cNvPr id="134" name="AutoShape 49">
                <a:extLst>
                  <a:ext uri="{FF2B5EF4-FFF2-40B4-BE49-F238E27FC236}">
                    <a16:creationId xmlns:a16="http://schemas.microsoft.com/office/drawing/2014/main" id="{E341922B-C63C-4AB6-89BC-215B5AEFDB7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038548" y="5159451"/>
                <a:ext cx="1354604" cy="73763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square" lIns="12192" tIns="12192" rIns="12192" bIns="12192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Application Leads </a:t>
                </a:r>
              </a:p>
            </p:txBody>
          </p:sp>
          <p:sp>
            <p:nvSpPr>
              <p:cNvPr id="135" name="AutoShape 48">
                <a:extLst>
                  <a:ext uri="{FF2B5EF4-FFF2-40B4-BE49-F238E27FC236}">
                    <a16:creationId xmlns:a16="http://schemas.microsoft.com/office/drawing/2014/main" id="{FC64D1FF-20D3-42B9-A71F-5015DC0B534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3038548" y="4350624"/>
                <a:ext cx="1354604" cy="71963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square" lIns="12192" tIns="12192" rIns="12192" bIns="12192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Client IT head</a:t>
                </a:r>
              </a:p>
            </p:txBody>
          </p:sp>
          <p:sp>
            <p:nvSpPr>
              <p:cNvPr id="136" name="AutoShape 15">
                <a:extLst>
                  <a:ext uri="{FF2B5EF4-FFF2-40B4-BE49-F238E27FC236}">
                    <a16:creationId xmlns:a16="http://schemas.microsoft.com/office/drawing/2014/main" id="{F3666826-89F6-4E9B-A23C-CAA4816D946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3038548" y="3739191"/>
                <a:ext cx="1354604" cy="54866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lIns="12192" tIns="12192" rIns="12192" bIns="12192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CTO/CIO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Executive sponsor</a:t>
                </a:r>
              </a:p>
            </p:txBody>
          </p:sp>
          <p:sp>
            <p:nvSpPr>
              <p:cNvPr id="137" name="AutoShape 40">
                <a:extLst>
                  <a:ext uri="{FF2B5EF4-FFF2-40B4-BE49-F238E27FC236}">
                    <a16:creationId xmlns:a16="http://schemas.microsoft.com/office/drawing/2014/main" id="{A5B7EAA7-F0A8-41A9-9C1B-59482C45EB8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16608" y="5159451"/>
                <a:ext cx="1592294" cy="73763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square" lIns="12192" tIns="12192" rIns="12192" bIns="12192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Project Manager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Senior Support Analys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38" name="AutoShape 33">
                <a:extLst>
                  <a:ext uri="{FF2B5EF4-FFF2-40B4-BE49-F238E27FC236}">
                    <a16:creationId xmlns:a16="http://schemas.microsoft.com/office/drawing/2014/main" id="{AE0E4E33-D6AC-4F12-A843-5D8634E3BBB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16608" y="4357410"/>
                <a:ext cx="1592294" cy="71284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square" lIns="12192" tIns="12192" rIns="12192" bIns="12192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Project Manager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Senior Support analyst</a:t>
                </a:r>
              </a:p>
            </p:txBody>
          </p:sp>
          <p:sp>
            <p:nvSpPr>
              <p:cNvPr id="139" name="AutoShape 16">
                <a:extLst>
                  <a:ext uri="{FF2B5EF4-FFF2-40B4-BE49-F238E27FC236}">
                    <a16:creationId xmlns:a16="http://schemas.microsoft.com/office/drawing/2014/main" id="{7CD0CBB7-6BB6-47CD-9325-B49FE686EF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16608" y="3739191"/>
                <a:ext cx="1592294" cy="54866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square" lIns="12192" tIns="12192" rIns="12192" bIns="12192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Program Director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Project Manager</a:t>
                </a:r>
              </a:p>
            </p:txBody>
          </p:sp>
          <p:sp>
            <p:nvSpPr>
              <p:cNvPr id="150" name="AutoShape 8">
                <a:extLst>
                  <a:ext uri="{FF2B5EF4-FFF2-40B4-BE49-F238E27FC236}">
                    <a16:creationId xmlns:a16="http://schemas.microsoft.com/office/drawing/2014/main" id="{87F92EAD-2CE2-4458-BB9F-1F2A2643FC1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761534" y="3190037"/>
                <a:ext cx="1166982" cy="501288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10000"/>
                  <a:lumOff val="90000"/>
                </a:schemeClr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lIns="12192" tIns="12192" rIns="12192" bIns="12192" anchor="ctr" anchorCtr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Forums</a:t>
                </a:r>
              </a:p>
            </p:txBody>
          </p:sp>
          <p:sp>
            <p:nvSpPr>
              <p:cNvPr id="151" name="AutoShape 24">
                <a:extLst>
                  <a:ext uri="{FF2B5EF4-FFF2-40B4-BE49-F238E27FC236}">
                    <a16:creationId xmlns:a16="http://schemas.microsoft.com/office/drawing/2014/main" id="{F0484D22-B4BA-4A3D-88BF-D612F5B5C22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3038550" y="3204049"/>
                <a:ext cx="827932" cy="508694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10000"/>
                  <a:lumOff val="90000"/>
                </a:schemeClr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lIns="121920" tIns="12192" rIns="12192" bIns="12192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AEGON</a:t>
                </a:r>
              </a:p>
            </p:txBody>
          </p:sp>
          <p:sp>
            <p:nvSpPr>
              <p:cNvPr id="152" name="AutoShape 25">
                <a:extLst>
                  <a:ext uri="{FF2B5EF4-FFF2-40B4-BE49-F238E27FC236}">
                    <a16:creationId xmlns:a16="http://schemas.microsoft.com/office/drawing/2014/main" id="{A3A41C35-0649-426A-8806-819C738C9A0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101939" y="3190037"/>
                <a:ext cx="1006963" cy="522555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10000"/>
                  <a:lumOff val="90000"/>
                </a:schemeClr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lIns="12192" tIns="12192" rIns="609600" bIns="12192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                    Partner</a:t>
                </a:r>
              </a:p>
            </p:txBody>
          </p:sp>
          <p:sp>
            <p:nvSpPr>
              <p:cNvPr id="153" name="AutoShape 25">
                <a:extLst>
                  <a:ext uri="{FF2B5EF4-FFF2-40B4-BE49-F238E27FC236}">
                    <a16:creationId xmlns:a16="http://schemas.microsoft.com/office/drawing/2014/main" id="{D2297421-B7A7-416F-9C5D-01D6552D473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016094" y="3327133"/>
                <a:ext cx="956269" cy="223728"/>
              </a:xfrm>
              <a:prstGeom prst="roundRect">
                <a:avLst>
                  <a:gd name="adj" fmla="val 16667"/>
                </a:avLst>
              </a:prstGeom>
              <a:solidFill>
                <a:schemeClr val="tx2">
                  <a:lumMod val="10000"/>
                  <a:lumOff val="90000"/>
                </a:schemeClr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lIns="12192" tIns="12192" rIns="12192" bIns="12192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Participants</a:t>
                </a:r>
              </a:p>
            </p:txBody>
          </p:sp>
          <p:cxnSp>
            <p:nvCxnSpPr>
              <p:cNvPr id="157" name="Straight Arrow Connector 156">
                <a:extLst>
                  <a:ext uri="{FF2B5EF4-FFF2-40B4-BE49-F238E27FC236}">
                    <a16:creationId xmlns:a16="http://schemas.microsoft.com/office/drawing/2014/main" id="{5D479B87-1171-41D7-B68C-FB666D367330}"/>
                  </a:ext>
                </a:extLst>
              </p:cNvPr>
              <p:cNvCxnSpPr/>
              <p:nvPr/>
            </p:nvCxnSpPr>
            <p:spPr>
              <a:xfrm flipH="1">
                <a:off x="3826671" y="3432472"/>
                <a:ext cx="198575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158" name="Straight Arrow Connector 157">
                <a:extLst>
                  <a:ext uri="{FF2B5EF4-FFF2-40B4-BE49-F238E27FC236}">
                    <a16:creationId xmlns:a16="http://schemas.microsoft.com/office/drawing/2014/main" id="{5E5736EC-E114-4A91-B0AE-5444506C1B64}"/>
                  </a:ext>
                </a:extLst>
              </p:cNvPr>
              <p:cNvCxnSpPr/>
              <p:nvPr/>
            </p:nvCxnSpPr>
            <p:spPr>
              <a:xfrm flipH="1">
                <a:off x="4963211" y="3435445"/>
                <a:ext cx="198575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headEnd type="triangle"/>
                <a:tailEnd type="none"/>
              </a:ln>
              <a:effectLst/>
            </p:spPr>
          </p:cxn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112109A-7BA2-4317-8522-E6DC0162C109}"/>
                </a:ext>
              </a:extLst>
            </p:cNvPr>
            <p:cNvGrpSpPr/>
            <p:nvPr/>
          </p:nvGrpSpPr>
          <p:grpSpPr>
            <a:xfrm>
              <a:off x="579438" y="2082115"/>
              <a:ext cx="10652467" cy="3725389"/>
              <a:chOff x="579438" y="2082115"/>
              <a:chExt cx="10652467" cy="3725389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269EDE6-E8BA-462A-9999-6E3F54675A62}"/>
                  </a:ext>
                </a:extLst>
              </p:cNvPr>
              <p:cNvGrpSpPr/>
              <p:nvPr/>
            </p:nvGrpSpPr>
            <p:grpSpPr>
              <a:xfrm>
                <a:off x="10358882" y="3631236"/>
                <a:ext cx="873023" cy="2157892"/>
                <a:chOff x="10355954" y="3714962"/>
                <a:chExt cx="873023" cy="2157892"/>
              </a:xfrm>
            </p:grpSpPr>
            <p:sp>
              <p:nvSpPr>
                <p:cNvPr id="140" name="AutoShape 41">
                  <a:extLst>
                    <a:ext uri="{FF2B5EF4-FFF2-40B4-BE49-F238E27FC236}">
                      <a16:creationId xmlns:a16="http://schemas.microsoft.com/office/drawing/2014/main" id="{F09A725F-F53C-4684-A8A5-45C9407144DB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10355954" y="5135222"/>
                  <a:ext cx="873023" cy="737632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Weekly</a:t>
                  </a:r>
                </a:p>
              </p:txBody>
            </p:sp>
            <p:sp>
              <p:nvSpPr>
                <p:cNvPr id="141" name="AutoShape 30">
                  <a:extLst>
                    <a:ext uri="{FF2B5EF4-FFF2-40B4-BE49-F238E27FC236}">
                      <a16:creationId xmlns:a16="http://schemas.microsoft.com/office/drawing/2014/main" id="{5026CEFF-20A4-4ECD-8CAC-CC2326A117C2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10355954" y="4333179"/>
                  <a:ext cx="873023" cy="712847"/>
                </a:xfrm>
                <a:prstGeom prst="rect">
                  <a:avLst/>
                </a:prstGeom>
                <a:solidFill>
                  <a:srgbClr val="92D050"/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Monthly</a:t>
                  </a:r>
                </a:p>
              </p:txBody>
            </p:sp>
            <p:sp>
              <p:nvSpPr>
                <p:cNvPr id="142" name="AutoShape 18">
                  <a:extLst>
                    <a:ext uri="{FF2B5EF4-FFF2-40B4-BE49-F238E27FC236}">
                      <a16:creationId xmlns:a16="http://schemas.microsoft.com/office/drawing/2014/main" id="{D8106E33-3EEF-4496-9436-8B07D99ED9DE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10355954" y="3714962"/>
                  <a:ext cx="873023" cy="548666"/>
                </a:xfrm>
                <a:prstGeom prst="rect">
                  <a:avLst/>
                </a:prstGeom>
                <a:solidFill>
                  <a:schemeClr val="accent2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</a:rPr>
                    <a:t>Quarterly</a:t>
                  </a: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DCBBAFA-8AA5-4042-B211-A142048D2EE5}"/>
                  </a:ext>
                </a:extLst>
              </p:cNvPr>
              <p:cNvGrpSpPr/>
              <p:nvPr/>
            </p:nvGrpSpPr>
            <p:grpSpPr>
              <a:xfrm>
                <a:off x="579438" y="3649613"/>
                <a:ext cx="1076877" cy="2157891"/>
                <a:chOff x="576510" y="3733339"/>
                <a:chExt cx="1076877" cy="2157891"/>
              </a:xfrm>
            </p:grpSpPr>
            <p:sp>
              <p:nvSpPr>
                <p:cNvPr id="128" name="AutoShape 5">
                  <a:extLst>
                    <a:ext uri="{FF2B5EF4-FFF2-40B4-BE49-F238E27FC236}">
                      <a16:creationId xmlns:a16="http://schemas.microsoft.com/office/drawing/2014/main" id="{62D4AA0C-DD01-4D09-8636-B34DE76D28AB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576510" y="3733339"/>
                  <a:ext cx="1076877" cy="548085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</a:rPr>
                    <a:t>Strategic 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</a:rPr>
                    <a:t> Governance</a:t>
                  </a:r>
                </a:p>
              </p:txBody>
            </p:sp>
            <p:sp>
              <p:nvSpPr>
                <p:cNvPr id="129" name="AutoShape 6">
                  <a:extLst>
                    <a:ext uri="{FF2B5EF4-FFF2-40B4-BE49-F238E27FC236}">
                      <a16:creationId xmlns:a16="http://schemas.microsoft.com/office/drawing/2014/main" id="{57A4A501-466D-460A-AAFB-39CB86ABC8D9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576510" y="4324248"/>
                  <a:ext cx="1076877" cy="771992"/>
                </a:xfrm>
                <a:prstGeom prst="roundRect">
                  <a:avLst>
                    <a:gd name="adj" fmla="val 0"/>
                  </a:avLst>
                </a:prstGeom>
                <a:solidFill>
                  <a:srgbClr val="92D050"/>
                </a:solidFill>
                <a:ln>
                  <a:noFill/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Calibri"/>
                    </a:rPr>
                    <a:t>Tactical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Calibri"/>
                    </a:rPr>
                    <a:t> Governance</a:t>
                  </a:r>
                </a:p>
              </p:txBody>
            </p:sp>
            <p:sp>
              <p:nvSpPr>
                <p:cNvPr id="130" name="AutoShape 7">
                  <a:extLst>
                    <a:ext uri="{FF2B5EF4-FFF2-40B4-BE49-F238E27FC236}">
                      <a16:creationId xmlns:a16="http://schemas.microsoft.com/office/drawing/2014/main" id="{F7738A8C-5A5E-4A42-A715-AFBC4D13C775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576510" y="5151387"/>
                  <a:ext cx="1076877" cy="739843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Calibri"/>
                    </a:rPr>
                    <a:t>Operational 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Calibri"/>
                    </a:rPr>
                    <a:t>Governance</a:t>
                  </a:r>
                </a:p>
              </p:txBody>
            </p:sp>
          </p:grp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0B1C7454-4DB5-4BE7-831D-CBF748012D09}"/>
                  </a:ext>
                </a:extLst>
              </p:cNvPr>
              <p:cNvGrpSpPr/>
              <p:nvPr/>
            </p:nvGrpSpPr>
            <p:grpSpPr>
              <a:xfrm>
                <a:off x="6424285" y="2082115"/>
                <a:ext cx="3801809" cy="3702013"/>
                <a:chOff x="7555811" y="1567749"/>
                <a:chExt cx="3801809" cy="3702013"/>
              </a:xfrm>
            </p:grpSpPr>
            <p:sp>
              <p:nvSpPr>
                <p:cNvPr id="122" name="Rectangle 4">
                  <a:extLst>
                    <a:ext uri="{FF2B5EF4-FFF2-40B4-BE49-F238E27FC236}">
                      <a16:creationId xmlns:a16="http://schemas.microsoft.com/office/drawing/2014/main" id="{5445C784-3CF1-49F6-83CA-4D3088C50B5C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>
                  <a:off x="7555811" y="1567749"/>
                  <a:ext cx="3801809" cy="541746"/>
                </a:xfrm>
                <a:prstGeom prst="rect">
                  <a:avLst/>
                </a:prstGeom>
                <a:solidFill>
                  <a:schemeClr val="tx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tIns="0" rIns="0" bIns="0" anchor="ctr" anchorCtr="1">
                  <a:noAutofit/>
                </a:bodyPr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</a:rPr>
                    <a:t>Value Enhancement</a:t>
                  </a:r>
                </a:p>
              </p:txBody>
            </p:sp>
            <p:sp>
              <p:nvSpPr>
                <p:cNvPr id="143" name="AutoShape 44">
                  <a:extLst>
                    <a:ext uri="{FF2B5EF4-FFF2-40B4-BE49-F238E27FC236}">
                      <a16:creationId xmlns:a16="http://schemas.microsoft.com/office/drawing/2014/main" id="{55BE9E23-82AC-48DD-A270-A8619324D41A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>
                  <a:off x="7555811" y="4532130"/>
                  <a:ext cx="1867172" cy="73763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squar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Weekly report,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 Performance issues, </a:t>
                  </a:r>
                  <a:b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</a:b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Non-core demand requests</a:t>
                  </a:r>
                </a:p>
              </p:txBody>
            </p:sp>
            <p:sp>
              <p:nvSpPr>
                <p:cNvPr id="144" name="AutoShape 35">
                  <a:extLst>
                    <a:ext uri="{FF2B5EF4-FFF2-40B4-BE49-F238E27FC236}">
                      <a16:creationId xmlns:a16="http://schemas.microsoft.com/office/drawing/2014/main" id="{549A469C-C4E3-431E-99E2-355BF997E06B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7555811" y="3737140"/>
                  <a:ext cx="1867172" cy="69046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squar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Monthly SLA Report, Unresolved escalations, Risk Assessment </a:t>
                  </a:r>
                </a:p>
              </p:txBody>
            </p:sp>
            <p:sp>
              <p:nvSpPr>
                <p:cNvPr id="145" name="AutoShape 19">
                  <a:extLst>
                    <a:ext uri="{FF2B5EF4-FFF2-40B4-BE49-F238E27FC236}">
                      <a16:creationId xmlns:a16="http://schemas.microsoft.com/office/drawing/2014/main" id="{1D21B0F6-6CFB-4326-AA6D-DECC32F107BE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>
                  <a:off x="7555811" y="3111870"/>
                  <a:ext cx="1867172" cy="54866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       Engagement dashboard,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Innovation,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Best Practices</a:t>
                  </a:r>
                </a:p>
              </p:txBody>
            </p:sp>
            <p:sp>
              <p:nvSpPr>
                <p:cNvPr id="146" name="AutoShape 37">
                  <a:extLst>
                    <a:ext uri="{FF2B5EF4-FFF2-40B4-BE49-F238E27FC236}">
                      <a16:creationId xmlns:a16="http://schemas.microsoft.com/office/drawing/2014/main" id="{F9CFDC09-61B7-4B42-B7F8-A5017C63C347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9523414" y="3737140"/>
                  <a:ext cx="1822716" cy="69046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squar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Demand Prioritization, Change Approval, Improvement Opportunities</a:t>
                  </a:r>
                </a:p>
              </p:txBody>
            </p:sp>
            <p:sp>
              <p:nvSpPr>
                <p:cNvPr id="147" name="AutoShape 20">
                  <a:extLst>
                    <a:ext uri="{FF2B5EF4-FFF2-40B4-BE49-F238E27FC236}">
                      <a16:creationId xmlns:a16="http://schemas.microsoft.com/office/drawing/2014/main" id="{1FED9CBB-B7F2-4A5F-A299-301C8D747256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9523414" y="3111870"/>
                  <a:ext cx="1822716" cy="54866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Future Strategy, Service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Quality Assessment</a:t>
                  </a:r>
                </a:p>
              </p:txBody>
            </p:sp>
            <p:sp>
              <p:nvSpPr>
                <p:cNvPr id="148" name="AutoShape 42">
                  <a:extLst>
                    <a:ext uri="{FF2B5EF4-FFF2-40B4-BE49-F238E27FC236}">
                      <a16:creationId xmlns:a16="http://schemas.microsoft.com/office/drawing/2014/main" id="{C3F398D9-3E49-4488-9BDE-42ED1DD63394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9523414" y="4532130"/>
                  <a:ext cx="1822716" cy="73763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squar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Volume management, fulfilment, Review SLAs, Billing issue resolution</a:t>
                  </a:r>
                </a:p>
              </p:txBody>
            </p:sp>
            <p:sp>
              <p:nvSpPr>
                <p:cNvPr id="155" name="AutoShape 11">
                  <a:extLst>
                    <a:ext uri="{FF2B5EF4-FFF2-40B4-BE49-F238E27FC236}">
                      <a16:creationId xmlns:a16="http://schemas.microsoft.com/office/drawing/2014/main" id="{2DBEFE15-9D89-43BE-986E-3AE2807A387C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7555811" y="2537999"/>
                  <a:ext cx="1867172" cy="526005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tx2">
                    <a:lumMod val="10000"/>
                    <a:lumOff val="90000"/>
                  </a:schemeClr>
                </a:soli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Input</a:t>
                  </a:r>
                </a:p>
              </p:txBody>
            </p:sp>
            <p:sp>
              <p:nvSpPr>
                <p:cNvPr id="156" name="AutoShape 12">
                  <a:extLst>
                    <a:ext uri="{FF2B5EF4-FFF2-40B4-BE49-F238E27FC236}">
                      <a16:creationId xmlns:a16="http://schemas.microsoft.com/office/drawing/2014/main" id="{0D8FBFEA-56B8-4C9B-96C4-B650529D446F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9523413" y="2537999"/>
                  <a:ext cx="1822716" cy="526005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tx2">
                    <a:lumMod val="10000"/>
                    <a:lumOff val="90000"/>
                  </a:schemeClr>
                </a:soli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lIns="12192" tIns="12192" rIns="12192" bIns="12192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Calibri"/>
                    </a:rPr>
                    <a:t>Output</a:t>
                  </a: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AF046407-22D9-4ADA-88C6-84C696CD3C1F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9078971" y="2142137"/>
                  <a:ext cx="1091969" cy="326865"/>
                </a:xfrm>
                <a:prstGeom prst="rect">
                  <a:avLst/>
                </a:prstGeom>
                <a:solidFill>
                  <a:schemeClr val="accent1">
                    <a:lumMod val="5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24384" tIns="24384" rIns="24384" bIns="24384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</a:rPr>
                    <a:t>Quality</a:t>
                  </a: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0C2E21E4-AB01-42BC-A0B4-D83E8B6C6D7B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7555811" y="2142137"/>
                  <a:ext cx="1409262" cy="342088"/>
                </a:xfrm>
                <a:prstGeom prst="rect">
                  <a:avLst/>
                </a:prstGeom>
                <a:solidFill>
                  <a:schemeClr val="accent1">
                    <a:lumMod val="5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24384" tIns="24384" rIns="24384" bIns="24384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</a:rPr>
                    <a:t>Change</a:t>
                  </a:r>
                </a:p>
              </p:txBody>
            </p:sp>
            <p:sp>
              <p:nvSpPr>
                <p:cNvPr id="162" name="Rectangle 161">
                  <a:extLst>
                    <a:ext uri="{FF2B5EF4-FFF2-40B4-BE49-F238E27FC236}">
                      <a16:creationId xmlns:a16="http://schemas.microsoft.com/office/drawing/2014/main" id="{F326F221-BC4B-439B-A04B-6D5B379A2401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0265652" y="2141933"/>
                  <a:ext cx="1091968" cy="326864"/>
                </a:xfrm>
                <a:prstGeom prst="rect">
                  <a:avLst/>
                </a:prstGeom>
                <a:solidFill>
                  <a:schemeClr val="accent1">
                    <a:lumMod val="5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24384" tIns="24384" rIns="24384" bIns="24384" anchor="ctr" anchorCtr="1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</a:rPr>
                    <a:t>Relationship</a:t>
                  </a:r>
                </a:p>
              </p:txBody>
            </p:sp>
          </p:grpSp>
        </p:grpSp>
      </p:grp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E5D7E66-764B-4118-9BF8-1131F44642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9582" y="6464682"/>
            <a:ext cx="4552274" cy="333889"/>
          </a:xfrm>
        </p:spPr>
        <p:txBody>
          <a:bodyPr/>
          <a:lstStyle/>
          <a:p>
            <a:pPr algn="ctr"/>
            <a:r>
              <a:rPr lang="en-GB" sz="1200" dirty="0"/>
              <a:t>Recommended for AEM development [Srinivas Gopinath Parimi]</a:t>
            </a:r>
          </a:p>
        </p:txBody>
      </p:sp>
    </p:spTree>
    <p:extLst>
      <p:ext uri="{BB962C8B-B14F-4D97-AF65-F5344CB8AC3E}">
        <p14:creationId xmlns:p14="http://schemas.microsoft.com/office/powerpoint/2010/main" val="70702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970EEE-83C8-4D64-92F0-55CC5B19DF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616687"/>
          </a:xfrm>
        </p:spPr>
        <p:txBody>
          <a:bodyPr/>
          <a:lstStyle/>
          <a:p>
            <a:r>
              <a:rPr lang="en-GB" dirty="0"/>
              <a:t>Effort estimation – ADX SPA Analytic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8F47831-42EB-4A81-919B-963676284B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551053"/>
              </p:ext>
            </p:extLst>
          </p:nvPr>
        </p:nvGraphicFramePr>
        <p:xfrm>
          <a:off x="7412550" y="695001"/>
          <a:ext cx="4214138" cy="2223752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735376">
                  <a:extLst>
                    <a:ext uri="{9D8B030D-6E8A-4147-A177-3AD203B41FA5}">
                      <a16:colId xmlns:a16="http://schemas.microsoft.com/office/drawing/2014/main" val="784311246"/>
                    </a:ext>
                  </a:extLst>
                </a:gridCol>
                <a:gridCol w="776285">
                  <a:extLst>
                    <a:ext uri="{9D8B030D-6E8A-4147-A177-3AD203B41FA5}">
                      <a16:colId xmlns:a16="http://schemas.microsoft.com/office/drawing/2014/main" val="882481151"/>
                    </a:ext>
                  </a:extLst>
                </a:gridCol>
                <a:gridCol w="595408">
                  <a:extLst>
                    <a:ext uri="{9D8B030D-6E8A-4147-A177-3AD203B41FA5}">
                      <a16:colId xmlns:a16="http://schemas.microsoft.com/office/drawing/2014/main" val="151467766"/>
                    </a:ext>
                  </a:extLst>
                </a:gridCol>
                <a:gridCol w="750923">
                  <a:extLst>
                    <a:ext uri="{9D8B030D-6E8A-4147-A177-3AD203B41FA5}">
                      <a16:colId xmlns:a16="http://schemas.microsoft.com/office/drawing/2014/main" val="4206499494"/>
                    </a:ext>
                  </a:extLst>
                </a:gridCol>
                <a:gridCol w="705752">
                  <a:extLst>
                    <a:ext uri="{9D8B030D-6E8A-4147-A177-3AD203B41FA5}">
                      <a16:colId xmlns:a16="http://schemas.microsoft.com/office/drawing/2014/main" val="2181904750"/>
                    </a:ext>
                  </a:extLst>
                </a:gridCol>
                <a:gridCol w="650394">
                  <a:extLst>
                    <a:ext uri="{9D8B030D-6E8A-4147-A177-3AD203B41FA5}">
                      <a16:colId xmlns:a16="http://schemas.microsoft.com/office/drawing/2014/main" val="3951638538"/>
                    </a:ext>
                  </a:extLst>
                </a:gridCol>
              </a:tblGrid>
              <a:tr h="105810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GB" sz="1200" b="1" u="none" strike="noStrike" dirty="0">
                          <a:effectLst/>
                        </a:rPr>
                        <a:t>Team size</a:t>
                      </a:r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311772"/>
                  </a:ext>
                </a:extLst>
              </a:tr>
              <a:tr h="10581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Rol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Number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Person </a:t>
                      </a:r>
                    </a:p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days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Daily util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Actual days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Actual </a:t>
                      </a:r>
                    </a:p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weeks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2704472"/>
                  </a:ext>
                </a:extLst>
              </a:tr>
              <a:tr h="10581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Manager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1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2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0.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424542367"/>
                  </a:ext>
                </a:extLst>
              </a:tr>
              <a:tr h="196295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Business Analyst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26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0.5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3881556404"/>
                  </a:ext>
                </a:extLst>
              </a:tr>
              <a:tr h="196295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Solution Architect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13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0.2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2306507533"/>
                  </a:ext>
                </a:extLst>
              </a:tr>
              <a:tr h="10581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Developer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257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4018443039"/>
                  </a:ext>
                </a:extLst>
              </a:tr>
              <a:tr h="10581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DevOps Engineer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2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1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2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4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273903626"/>
                  </a:ext>
                </a:extLst>
              </a:tr>
              <a:tr h="10581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Q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2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52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1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26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6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826952587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53AA866-AFE1-4DD7-8833-C30C596141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4601255"/>
              </p:ext>
            </p:extLst>
          </p:nvPr>
        </p:nvGraphicFramePr>
        <p:xfrm>
          <a:off x="7412550" y="3339068"/>
          <a:ext cx="3829493" cy="112894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291515">
                  <a:extLst>
                    <a:ext uri="{9D8B030D-6E8A-4147-A177-3AD203B41FA5}">
                      <a16:colId xmlns:a16="http://schemas.microsoft.com/office/drawing/2014/main" val="4012770686"/>
                    </a:ext>
                  </a:extLst>
                </a:gridCol>
                <a:gridCol w="630740">
                  <a:extLst>
                    <a:ext uri="{9D8B030D-6E8A-4147-A177-3AD203B41FA5}">
                      <a16:colId xmlns:a16="http://schemas.microsoft.com/office/drawing/2014/main" val="1091398454"/>
                    </a:ext>
                  </a:extLst>
                </a:gridCol>
                <a:gridCol w="659800">
                  <a:extLst>
                    <a:ext uri="{9D8B030D-6E8A-4147-A177-3AD203B41FA5}">
                      <a16:colId xmlns:a16="http://schemas.microsoft.com/office/drawing/2014/main" val="1411726734"/>
                    </a:ext>
                  </a:extLst>
                </a:gridCol>
                <a:gridCol w="1247438">
                  <a:extLst>
                    <a:ext uri="{9D8B030D-6E8A-4147-A177-3AD203B41FA5}">
                      <a16:colId xmlns:a16="http://schemas.microsoft.com/office/drawing/2014/main" val="1845371202"/>
                    </a:ext>
                  </a:extLst>
                </a:gridCol>
              </a:tblGrid>
              <a:tr h="105810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GB" sz="1200" b="1" u="none" strike="noStrike" dirty="0">
                          <a:effectLst/>
                        </a:rPr>
                        <a:t>Effort Estimation</a:t>
                      </a:r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6315994"/>
                  </a:ext>
                </a:extLst>
              </a:tr>
              <a:tr h="10581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 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Hours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Days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Person weeks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354194"/>
                  </a:ext>
                </a:extLst>
              </a:tr>
              <a:tr h="10581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Coding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205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257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extLst>
                  <a:ext uri="{0D108BD9-81ED-4DB2-BD59-A6C34878D82A}">
                    <a16:rowId xmlns:a16="http://schemas.microsoft.com/office/drawing/2014/main" val="406090827"/>
                  </a:ext>
                </a:extLst>
              </a:tr>
              <a:tr h="196295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Testing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41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extLst>
                  <a:ext uri="{0D108BD9-81ED-4DB2-BD59-A6C34878D82A}">
                    <a16:rowId xmlns:a16="http://schemas.microsoft.com/office/drawing/2014/main" val="3770154116"/>
                  </a:ext>
                </a:extLst>
              </a:tr>
              <a:tr h="10581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Managemen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20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2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6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extLst>
                  <a:ext uri="{0D108BD9-81ED-4DB2-BD59-A6C34878D82A}">
                    <a16:rowId xmlns:a16="http://schemas.microsoft.com/office/drawing/2014/main" val="1188504773"/>
                  </a:ext>
                </a:extLst>
              </a:tr>
              <a:tr h="10581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Total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266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334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 dirty="0">
                          <a:effectLst/>
                        </a:rPr>
                        <a:t>67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extLst>
                  <a:ext uri="{0D108BD9-81ED-4DB2-BD59-A6C34878D82A}">
                    <a16:rowId xmlns:a16="http://schemas.microsoft.com/office/drawing/2014/main" val="4031818625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DE9F69F-1C87-41D4-8119-1F96041FDA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6339730"/>
              </p:ext>
            </p:extLst>
          </p:nvPr>
        </p:nvGraphicFramePr>
        <p:xfrm>
          <a:off x="579438" y="695001"/>
          <a:ext cx="6377247" cy="6083854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246633">
                  <a:extLst>
                    <a:ext uri="{9D8B030D-6E8A-4147-A177-3AD203B41FA5}">
                      <a16:colId xmlns:a16="http://schemas.microsoft.com/office/drawing/2014/main" val="4102822829"/>
                    </a:ext>
                  </a:extLst>
                </a:gridCol>
                <a:gridCol w="763389">
                  <a:extLst>
                    <a:ext uri="{9D8B030D-6E8A-4147-A177-3AD203B41FA5}">
                      <a16:colId xmlns:a16="http://schemas.microsoft.com/office/drawing/2014/main" val="3263357871"/>
                    </a:ext>
                  </a:extLst>
                </a:gridCol>
                <a:gridCol w="2114006">
                  <a:extLst>
                    <a:ext uri="{9D8B030D-6E8A-4147-A177-3AD203B41FA5}">
                      <a16:colId xmlns:a16="http://schemas.microsoft.com/office/drawing/2014/main" val="150525710"/>
                    </a:ext>
                  </a:extLst>
                </a:gridCol>
                <a:gridCol w="516756">
                  <a:extLst>
                    <a:ext uri="{9D8B030D-6E8A-4147-A177-3AD203B41FA5}">
                      <a16:colId xmlns:a16="http://schemas.microsoft.com/office/drawing/2014/main" val="2350861882"/>
                    </a:ext>
                  </a:extLst>
                </a:gridCol>
                <a:gridCol w="364077">
                  <a:extLst>
                    <a:ext uri="{9D8B030D-6E8A-4147-A177-3AD203B41FA5}">
                      <a16:colId xmlns:a16="http://schemas.microsoft.com/office/drawing/2014/main" val="2921513793"/>
                    </a:ext>
                  </a:extLst>
                </a:gridCol>
                <a:gridCol w="293612">
                  <a:extLst>
                    <a:ext uri="{9D8B030D-6E8A-4147-A177-3AD203B41FA5}">
                      <a16:colId xmlns:a16="http://schemas.microsoft.com/office/drawing/2014/main" val="1845351004"/>
                    </a:ext>
                  </a:extLst>
                </a:gridCol>
                <a:gridCol w="399312">
                  <a:extLst>
                    <a:ext uri="{9D8B030D-6E8A-4147-A177-3AD203B41FA5}">
                      <a16:colId xmlns:a16="http://schemas.microsoft.com/office/drawing/2014/main" val="3348360208"/>
                    </a:ext>
                  </a:extLst>
                </a:gridCol>
                <a:gridCol w="751647">
                  <a:extLst>
                    <a:ext uri="{9D8B030D-6E8A-4147-A177-3AD203B41FA5}">
                      <a16:colId xmlns:a16="http://schemas.microsoft.com/office/drawing/2014/main" val="4224525784"/>
                    </a:ext>
                  </a:extLst>
                </a:gridCol>
                <a:gridCol w="927815">
                  <a:extLst>
                    <a:ext uri="{9D8B030D-6E8A-4147-A177-3AD203B41FA5}">
                      <a16:colId xmlns:a16="http://schemas.microsoft.com/office/drawing/2014/main" val="4161633982"/>
                    </a:ext>
                  </a:extLst>
                </a:gridCol>
              </a:tblGrid>
              <a:tr h="141128">
                <a:tc gridSpan="9">
                  <a:txBody>
                    <a:bodyPr/>
                    <a:lstStyle/>
                    <a:p>
                      <a:pPr algn="ctr" fontAlgn="b"/>
                      <a:r>
                        <a:rPr lang="en-GB" sz="1000" u="none" strike="noStrike" dirty="0">
                          <a:effectLst/>
                        </a:rPr>
                        <a:t>ADX SPA Analytics</a:t>
                      </a:r>
                      <a:endParaRPr lang="en-GB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5991695"/>
                  </a:ext>
                </a:extLst>
              </a:tr>
              <a:tr h="141128">
                <a:tc gridSpan="9">
                  <a:txBody>
                    <a:bodyPr/>
                    <a:lstStyle/>
                    <a:p>
                      <a:pPr algn="ctr" fontAlgn="b"/>
                      <a:r>
                        <a:rPr lang="en-GB" sz="1000" u="none" strike="noStrike" dirty="0">
                          <a:effectLst/>
                        </a:rPr>
                        <a:t>Solution Development Effort</a:t>
                      </a:r>
                      <a:endParaRPr lang="en-GB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4201106"/>
                  </a:ext>
                </a:extLst>
              </a:tr>
              <a:tr h="244926"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#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Category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Journey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Size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DEV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QA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Mgt.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Hour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Day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0312845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rowSpan="14"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Adviser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Activat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L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17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978529764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Logi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746457319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Accou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7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2227068708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4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Quote &amp; Apply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XL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6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0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26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648728529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5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uy new produc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X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6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0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26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315459791"/>
                  </a:ext>
                </a:extLst>
              </a:tr>
              <a:tr h="244926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hange existing investment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M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7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2695596559"/>
                  </a:ext>
                </a:extLst>
              </a:tr>
              <a:tr h="244926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7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anage regular money i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17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3740018236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anage investme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M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7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161632792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Top up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3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2091713186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Equity trading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816847929"/>
                  </a:ext>
                </a:extLst>
              </a:tr>
              <a:tr h="244926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1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Ongoing Adviser chang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M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7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2265119298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err="1">
                          <a:effectLst/>
                        </a:rPr>
                        <a:t>Adhoc</a:t>
                      </a:r>
                      <a:r>
                        <a:rPr lang="en-GB" sz="1000" u="none" strike="noStrike" dirty="0">
                          <a:effectLst/>
                        </a:rPr>
                        <a:t> Adviser chang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M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7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414710412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Drawdow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L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9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17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4118729117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4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anage money ou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L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17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2375342145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5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rowSpan="10"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Customer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Activat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3465062864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Unlock Accou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112883449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7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Forgot passwor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4081601331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uy new produc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XL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6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32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0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26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074511927"/>
                  </a:ext>
                </a:extLst>
              </a:tr>
              <a:tr h="244926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hange existing investment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641591760"/>
                  </a:ext>
                </a:extLst>
              </a:tr>
              <a:tr h="244926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anage regular money i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619092703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1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anage investme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2347983642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Top up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3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2676584264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Equity trading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3880538561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4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anage money ou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2930890066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5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>
                          <a:effectLst/>
                        </a:rPr>
                        <a:t>Employer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Activat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M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7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593269165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Unlock Accou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L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17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725369359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7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ew user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3606714611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anage member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209170529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2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Add new member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S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6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39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540888413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anage contribution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L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0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18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9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17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5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970532047"/>
                  </a:ext>
                </a:extLst>
              </a:tr>
              <a:tr h="132024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1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cheme and templat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6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2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6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78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1746905815"/>
                  </a:ext>
                </a:extLst>
              </a:tr>
              <a:tr h="244926"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>
                          <a:effectLst/>
                        </a:rPr>
                        <a:t>32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DevOp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Environment setup, CI/C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X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60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32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16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208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000" u="none" strike="noStrike" dirty="0">
                          <a:effectLst/>
                        </a:rPr>
                        <a:t>26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49" marR="3649" marT="3649" marB="0"/>
                </a:tc>
                <a:extLst>
                  <a:ext uri="{0D108BD9-81ED-4DB2-BD59-A6C34878D82A}">
                    <a16:rowId xmlns:a16="http://schemas.microsoft.com/office/drawing/2014/main" val="410332733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0BB18A1-E48D-2EB5-F060-E11C4AD84E4A}"/>
              </a:ext>
            </a:extLst>
          </p:cNvPr>
          <p:cNvSpPr txBox="1"/>
          <p:nvPr/>
        </p:nvSpPr>
        <p:spPr>
          <a:xfrm>
            <a:off x="7489552" y="5523112"/>
            <a:ext cx="316948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accent1"/>
                </a:solidFill>
              </a:rPr>
              <a:t>https://miro.com/app/board/uXjVOS58cqU=/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C8A9CB-F51F-81A1-2052-8B1192CCCC58}"/>
              </a:ext>
            </a:extLst>
          </p:cNvPr>
          <p:cNvSpPr txBox="1"/>
          <p:nvPr/>
        </p:nvSpPr>
        <p:spPr>
          <a:xfrm>
            <a:off x="7431800" y="5071203"/>
            <a:ext cx="316948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  <a:latin typeface="+mj-lt"/>
              </a:rPr>
              <a:t>User journeys (Miro board):</a:t>
            </a:r>
          </a:p>
        </p:txBody>
      </p:sp>
    </p:spTree>
    <p:extLst>
      <p:ext uri="{BB962C8B-B14F-4D97-AF65-F5344CB8AC3E}">
        <p14:creationId xmlns:p14="http://schemas.microsoft.com/office/powerpoint/2010/main" val="122661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7B6B80C-88A0-4916-B09D-C756C6666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1180618"/>
          </a:xfrm>
        </p:spPr>
        <p:txBody>
          <a:bodyPr anchor="b">
            <a:normAutofit/>
          </a:bodyPr>
          <a:lstStyle/>
          <a:p>
            <a:r>
              <a:rPr lang="en-GB" dirty="0"/>
              <a:t>Appendix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D79EEC7-EFAD-642F-538A-149088AD1D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438" y="1203769"/>
            <a:ext cx="10515600" cy="462986"/>
          </a:xfrm>
        </p:spPr>
        <p:txBody>
          <a:bodyPr/>
          <a:lstStyle/>
          <a:p>
            <a:r>
              <a:rPr lang="en-US" dirty="0"/>
              <a:t>References and additional information</a:t>
            </a:r>
          </a:p>
        </p:txBody>
      </p:sp>
      <p:pic>
        <p:nvPicPr>
          <p:cNvPr id="6" name="Picture Placeholder 5" descr="Woman holding red book">
            <a:extLst>
              <a:ext uri="{FF2B5EF4-FFF2-40B4-BE49-F238E27FC236}">
                <a16:creationId xmlns:a16="http://schemas.microsoft.com/office/drawing/2014/main" id="{FC9FCDFD-B176-49F6-98FD-ED44B0CD588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" b="7026"/>
          <a:stretch/>
        </p:blipFill>
        <p:spPr>
          <a:xfrm>
            <a:off x="3184586" y="1986646"/>
            <a:ext cx="5751070" cy="3569202"/>
          </a:xfrm>
          <a:noFill/>
        </p:spPr>
      </p:pic>
    </p:spTree>
    <p:extLst>
      <p:ext uri="{BB962C8B-B14F-4D97-AF65-F5344CB8AC3E}">
        <p14:creationId xmlns:p14="http://schemas.microsoft.com/office/powerpoint/2010/main" val="251523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180975"/>
            <a:ext cx="10515600" cy="535945"/>
          </a:xfrm>
        </p:spPr>
        <p:txBody>
          <a:bodyPr/>
          <a:lstStyle/>
          <a:p>
            <a:r>
              <a:rPr lang="en-US" dirty="0"/>
              <a:t>Adobe cloud services</a:t>
            </a: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9870469"/>
              </p:ext>
            </p:extLst>
          </p:nvPr>
        </p:nvGraphicFramePr>
        <p:xfrm>
          <a:off x="588818" y="864759"/>
          <a:ext cx="10515599" cy="471028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874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02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29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06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0714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032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032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5717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4347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84485">
                <a:tc gridSpan="10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9pPr>
                    </a:lstStyle>
                    <a:p>
                      <a:pPr algn="ctr"/>
                      <a:r>
                        <a:rPr lang="en-US" sz="1600" b="1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obe cloud services recommended for Insurance Industry</a:t>
                      </a:r>
                      <a:endParaRPr lang="en-US" sz="1600" b="1" i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b="0" i="0" dirty="0">
                        <a:solidFill>
                          <a:schemeClr val="accent6"/>
                        </a:solidFill>
                        <a:latin typeface="Adobe Clean Light" charset="0"/>
                        <a:ea typeface="Adobe Clean Light" charset="0"/>
                        <a:cs typeface="Adobe Clean Light" charset="0"/>
                      </a:endParaRPr>
                    </a:p>
                  </a:txBody>
                  <a:tcPr marL="68580" marR="68580" marT="34281" marB="3428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94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ing Strategy</a:t>
                      </a:r>
                      <a:endParaRPr lang="en-US" sz="1400" b="1" i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entify</a:t>
                      </a:r>
                      <a:r>
                        <a:rPr lang="en-US" sz="14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rospects and their interests</a:t>
                      </a:r>
                      <a:endParaRPr lang="en-US" sz="14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dobe Clean Light" charset="0"/>
                        <a:ea typeface="Adobe Clean Light" charset="0"/>
                        <a:cs typeface="Adobe Clean Light" charset="0"/>
                      </a:endParaRPr>
                    </a:p>
                  </a:txBody>
                  <a:tcPr marL="68580" marR="68580" marT="34281" marB="3428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hance prospect/customer information</a:t>
                      </a:r>
                      <a:endParaRPr lang="en-US" sz="14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dobe Clean Light" charset="0"/>
                        <a:ea typeface="Adobe Clean Light" charset="0"/>
                        <a:cs typeface="Adobe Clean Light" charset="0"/>
                      </a:endParaRPr>
                    </a:p>
                  </a:txBody>
                  <a:tcPr marL="68580" marR="68580" marT="34281" marB="3428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lti-channel communication</a:t>
                      </a:r>
                      <a:endParaRPr lang="en-US" sz="14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dobe Clean Light" charset="0"/>
                        <a:ea typeface="Adobe Clean Light" charset="0"/>
                        <a:cs typeface="Adobe Clean Light" charset="0"/>
                      </a:endParaRPr>
                    </a:p>
                  </a:txBody>
                  <a:tcPr marL="68580" marR="68580" marT="34281" marB="3428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14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r>
                        <a:rPr lang="en-US" sz="1400" b="1" baseline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 Cases</a:t>
                      </a:r>
                      <a:endParaRPr lang="en-US" sz="1400" b="1" i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algn="ctr" defTabSz="1088291" rtl="0" eaLnBrk="1" latinLnBrk="0" hangingPunct="1"/>
                      <a:r>
                        <a:rPr lang="en-US" sz="12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erate</a:t>
                      </a:r>
                    </a:p>
                    <a:p>
                      <a:pPr marL="0" algn="ctr" defTabSz="1088291" rtl="0" eaLnBrk="1" latinLnBrk="0" hangingPunct="1"/>
                      <a:r>
                        <a:rPr lang="en-US" sz="12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cial Leads</a:t>
                      </a:r>
                      <a:endParaRPr lang="en-US" sz="1200" b="1" i="0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algn="ctr" defTabSz="1088291" rtl="0" eaLnBrk="1" latinLnBrk="0" hangingPunct="1"/>
                      <a:r>
                        <a:rPr lang="en-US" sz="1200" b="1" kern="12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xt Best Action</a:t>
                      </a:r>
                      <a:endParaRPr lang="en-US" sz="1200" b="1" i="0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lvl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igger Customer Referral</a:t>
                      </a:r>
                      <a:endParaRPr lang="en-US" sz="1200" b="1" i="0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algn="ctr" defTabSz="1088291" rtl="0" eaLnBrk="1" latinLnBrk="0" hangingPunct="1"/>
                      <a:r>
                        <a:rPr lang="en-US" sz="12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itor Prospect Interaction</a:t>
                      </a:r>
                      <a:endParaRPr lang="en-US" sz="1200" b="1" i="0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ack Interaction History</a:t>
                      </a:r>
                      <a:endParaRPr lang="en-US" sz="1200" b="1" i="0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ack Prospect’s Proximity</a:t>
                      </a:r>
                      <a:endParaRPr lang="en-US" sz="1200" b="1" i="0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tbound Messages</a:t>
                      </a:r>
                      <a:endParaRPr lang="en-US" sz="1200" b="1" i="0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-channel Handshake</a:t>
                      </a:r>
                      <a:endParaRPr lang="en-US" sz="1200" b="1" i="0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ctr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er Analytics</a:t>
                      </a:r>
                      <a:endParaRPr lang="en-US" sz="1200" b="1" i="0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54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r>
                        <a:rPr lang="en-US" sz="1400" b="1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</a:t>
                      </a:r>
                      <a:r>
                        <a:rPr lang="en-US" sz="1400" b="1" baseline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ant to</a:t>
                      </a:r>
                      <a:endParaRPr lang="en-US" sz="1400" b="1" i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entify</a:t>
                      </a:r>
                      <a:r>
                        <a:rPr lang="en-US" sz="12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rospects via social media</a:t>
                      </a:r>
                      <a:endParaRPr lang="en-US" sz="12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derstand prospects through intelligent analytics and shortlist for follow-up</a:t>
                      </a:r>
                      <a:endParaRPr lang="en-US" sz="12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lvl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dict</a:t>
                      </a:r>
                      <a:r>
                        <a:rPr lang="en-US" sz="12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assign the leads to channels and users for follow-up</a:t>
                      </a:r>
                      <a:endParaRPr lang="en-US" sz="12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lvl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itor the prospect's interactions through specific channels to build a comprehensive view of the customer/prospect.</a:t>
                      </a:r>
                    </a:p>
                    <a:p>
                      <a:pPr marL="0" marR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lvl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ack the interactions across various channels enabling agents/call center to get a 360 degree of the customer interactions.</a:t>
                      </a:r>
                    </a:p>
                    <a:p>
                      <a:pPr marL="0" marR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lvl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ack prospect’s location to check if any agent is in proximity to personally connect with the prospect</a:t>
                      </a:r>
                    </a:p>
                    <a:p>
                      <a:pPr marL="0" marR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lvl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nage all the outbound communications made with the prospect through any channel like call, SMS, email, WhatsApp etc.</a:t>
                      </a:r>
                    </a:p>
                    <a:p>
                      <a:pPr marL="0" marR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lvl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able seamless transfer of channels resuming interaction from where it was left in the last interaction.</a:t>
                      </a: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pPr marL="0" marR="0" lvl="0" indent="0" algn="l" defTabSz="1088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 a peer-based sales model to suggest the appropriate product to the prospect or customer.</a:t>
                      </a: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31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r>
                        <a:rPr lang="en-US" sz="1400" b="1" spc="0" baseline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lution Components</a:t>
                      </a:r>
                      <a:endParaRPr lang="en-US" sz="1400" b="1" i="0" spc="-50" baseline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endParaRPr lang="en-US" sz="1200" dirty="0"/>
                    </a:p>
                    <a:p>
                      <a:endParaRPr lang="en-US" sz="1200" dirty="0"/>
                    </a:p>
                    <a:p>
                      <a:endParaRPr lang="en-US" sz="12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dobe Clean Light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dobe Clean"/>
                        </a:defRPr>
                      </a:lvl9pPr>
                    </a:lstStyle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81" marB="34281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5" name="Slide Number Placeholder 4"/>
          <p:cNvSpPr txBox="1">
            <a:spLocks/>
          </p:cNvSpPr>
          <p:nvPr/>
        </p:nvSpPr>
        <p:spPr>
          <a:xfrm>
            <a:off x="5771237" y="6731794"/>
            <a:ext cx="762000" cy="126206"/>
          </a:xfrm>
          <a:prstGeom prst="rect">
            <a:avLst/>
          </a:prstGeom>
        </p:spPr>
        <p:txBody>
          <a:bodyPr vert="horz" lIns="89658" tIns="44829" rIns="89658" bIns="44829" rtlCol="0" anchor="ctr"/>
          <a:lstStyle>
            <a:defPPr>
              <a:defRPr lang="en-US"/>
            </a:defPPr>
            <a:lvl1pPr marL="0" algn="r" defTabSz="894373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47220" algn="l" defTabSz="89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4373" algn="l" defTabSz="89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41719" algn="l" defTabSz="89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8719" algn="l" defTabSz="89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35579" algn="l" defTabSz="89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82847" algn="l" defTabSz="89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30160" algn="l" defTabSz="89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77175" algn="l" defTabSz="89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0156F56-D5AE-4C6F-B826-C69D1BC521BB}" type="slidenum">
              <a:rPr lang="en-US">
                <a:solidFill>
                  <a:prstClr val="white"/>
                </a:solidFill>
                <a:latin typeface="Adobe Clean"/>
              </a:rPr>
              <a:pPr algn="ctr"/>
              <a:t>24</a:t>
            </a:fld>
            <a:endParaRPr lang="en-US" dirty="0">
              <a:solidFill>
                <a:prstClr val="white"/>
              </a:solidFill>
              <a:latin typeface="Adobe Clean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65DC711-F8FB-4202-8352-DD633FCEF8C8}"/>
              </a:ext>
            </a:extLst>
          </p:cNvPr>
          <p:cNvGrpSpPr/>
          <p:nvPr/>
        </p:nvGrpSpPr>
        <p:grpSpPr>
          <a:xfrm>
            <a:off x="1607665" y="5908387"/>
            <a:ext cx="7470574" cy="644565"/>
            <a:chOff x="2028825" y="6023174"/>
            <a:chExt cx="7470574" cy="644565"/>
          </a:xfrm>
        </p:grpSpPr>
        <p:sp>
          <p:nvSpPr>
            <p:cNvPr id="47" name="TextBox 46"/>
            <p:cNvSpPr txBox="1"/>
            <p:nvPr/>
          </p:nvSpPr>
          <p:spPr>
            <a:xfrm>
              <a:off x="4972430" y="6375999"/>
              <a:ext cx="82030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4373"/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alytics</a:t>
              </a: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90898" y="6023174"/>
              <a:ext cx="290605" cy="290605"/>
            </a:xfrm>
            <a:prstGeom prst="rect">
              <a:avLst/>
            </a:prstGeom>
            <a:solidFill>
              <a:sysClr val="window" lastClr="FFFFFF"/>
            </a:solidFill>
          </p:spPr>
        </p:pic>
        <p:sp>
          <p:nvSpPr>
            <p:cNvPr id="49" name="TextBox 48"/>
            <p:cNvSpPr txBox="1"/>
            <p:nvPr/>
          </p:nvSpPr>
          <p:spPr>
            <a:xfrm>
              <a:off x="3629072" y="6390740"/>
              <a:ext cx="136801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4373"/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udience Manager</a:t>
              </a:r>
            </a:p>
          </p:txBody>
        </p: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87870" y="6039173"/>
              <a:ext cx="293406" cy="294183"/>
            </a:xfrm>
            <a:prstGeom prst="rect">
              <a:avLst/>
            </a:prstGeom>
            <a:solidFill>
              <a:sysClr val="window" lastClr="FFFFFF"/>
            </a:solidFill>
          </p:spPr>
        </p:pic>
        <p:sp>
          <p:nvSpPr>
            <p:cNvPr id="51" name="TextBox 50"/>
            <p:cNvSpPr txBox="1"/>
            <p:nvPr/>
          </p:nvSpPr>
          <p:spPr>
            <a:xfrm>
              <a:off x="2028825" y="6375999"/>
              <a:ext cx="160024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4373"/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xperience Manager</a:t>
              </a: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29414" y="6027239"/>
              <a:ext cx="318050" cy="318050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93969" y="6045897"/>
              <a:ext cx="353748" cy="347676"/>
            </a:xfrm>
            <a:prstGeom prst="rect">
              <a:avLst/>
            </a:prstGeom>
            <a:solidFill>
              <a:sysClr val="window" lastClr="FFFFFF"/>
            </a:solidFill>
          </p:spPr>
        </p:pic>
        <p:sp>
          <p:nvSpPr>
            <p:cNvPr id="54" name="TextBox 53"/>
            <p:cNvSpPr txBox="1"/>
            <p:nvPr/>
          </p:nvSpPr>
          <p:spPr>
            <a:xfrm>
              <a:off x="8834837" y="6366806"/>
              <a:ext cx="66456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4373"/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</a:t>
              </a: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040745" y="6023174"/>
              <a:ext cx="344860" cy="337553"/>
            </a:xfrm>
            <a:prstGeom prst="rect">
              <a:avLst/>
            </a:prstGeom>
            <a:solidFill>
              <a:sysClr val="window" lastClr="FFFFFF"/>
            </a:solidFill>
          </p:spPr>
        </p:pic>
        <p:sp>
          <p:nvSpPr>
            <p:cNvPr id="56" name="TextBox 55"/>
            <p:cNvSpPr txBox="1"/>
            <p:nvPr/>
          </p:nvSpPr>
          <p:spPr>
            <a:xfrm>
              <a:off x="5774797" y="6368894"/>
              <a:ext cx="84837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4373"/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mpaign</a:t>
              </a:r>
            </a:p>
          </p:txBody>
        </p:sp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91268" y="6049304"/>
              <a:ext cx="285639" cy="285295"/>
            </a:xfrm>
            <a:prstGeom prst="rect">
              <a:avLst/>
            </a:prstGeom>
            <a:solidFill>
              <a:sysClr val="window" lastClr="FFFFFF"/>
            </a:solidFill>
          </p:spPr>
        </p:pic>
        <p:sp>
          <p:nvSpPr>
            <p:cNvPr id="58" name="TextBox 57"/>
            <p:cNvSpPr txBox="1"/>
            <p:nvPr/>
          </p:nvSpPr>
          <p:spPr>
            <a:xfrm>
              <a:off x="8075380" y="6371937"/>
              <a:ext cx="6248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4373"/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ocial</a:t>
              </a: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01596" y="6061457"/>
              <a:ext cx="314542" cy="314542"/>
            </a:xfrm>
            <a:prstGeom prst="rect">
              <a:avLst/>
            </a:prstGeom>
            <a:solidFill>
              <a:sysClr val="window" lastClr="FFFFFF"/>
            </a:solidFill>
          </p:spPr>
        </p:pic>
        <p:sp>
          <p:nvSpPr>
            <p:cNvPr id="60" name="TextBox 59"/>
            <p:cNvSpPr txBox="1"/>
            <p:nvPr/>
          </p:nvSpPr>
          <p:spPr>
            <a:xfrm>
              <a:off x="6758225" y="6375999"/>
              <a:ext cx="12848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4373"/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dia Optimizer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ECD8837-CF67-4CB1-A702-42C7E326C158}"/>
              </a:ext>
            </a:extLst>
          </p:cNvPr>
          <p:cNvGrpSpPr/>
          <p:nvPr/>
        </p:nvGrpSpPr>
        <p:grpSpPr>
          <a:xfrm>
            <a:off x="1821547" y="4872445"/>
            <a:ext cx="9164914" cy="666055"/>
            <a:chOff x="1821547" y="5034370"/>
            <a:chExt cx="9164914" cy="66605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119793DE-EF9F-45F8-BD38-3300998A0CB4}"/>
                </a:ext>
              </a:extLst>
            </p:cNvPr>
            <p:cNvGrpSpPr/>
            <p:nvPr/>
          </p:nvGrpSpPr>
          <p:grpSpPr>
            <a:xfrm>
              <a:off x="3866111" y="5047851"/>
              <a:ext cx="721091" cy="636379"/>
              <a:chOff x="3866111" y="5047851"/>
              <a:chExt cx="721091" cy="636379"/>
            </a:xfrm>
          </p:grpSpPr>
          <p:pic>
            <p:nvPicPr>
              <p:cNvPr id="67" name="Picture 66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866111" y="5047851"/>
                <a:ext cx="344860" cy="337553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68" name="Picture 67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233454" y="5049169"/>
                <a:ext cx="353748" cy="347676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69" name="Picture 68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71889" y="5393625"/>
                <a:ext cx="290605" cy="290605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F05DD17-82DC-468F-8F65-E990C898155F}"/>
                </a:ext>
              </a:extLst>
            </p:cNvPr>
            <p:cNvGrpSpPr/>
            <p:nvPr/>
          </p:nvGrpSpPr>
          <p:grpSpPr>
            <a:xfrm>
              <a:off x="2849707" y="5048629"/>
              <a:ext cx="731812" cy="648649"/>
              <a:chOff x="2849707" y="5048629"/>
              <a:chExt cx="731812" cy="648649"/>
            </a:xfrm>
          </p:grpSpPr>
          <p:pic>
            <p:nvPicPr>
              <p:cNvPr id="61" name="Picture 60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262373" y="5379228"/>
                <a:ext cx="318050" cy="318050"/>
              </a:xfrm>
              <a:prstGeom prst="rect">
                <a:avLst/>
              </a:prstGeom>
            </p:spPr>
          </p:pic>
          <p:pic>
            <p:nvPicPr>
              <p:cNvPr id="62" name="Picture 61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849707" y="5048629"/>
                <a:ext cx="353748" cy="347676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63" name="Picture 62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290914" y="5061688"/>
                <a:ext cx="290605" cy="290605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71" name="Picture 70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888439" y="5399185"/>
                <a:ext cx="268819" cy="268819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E78A0B2-6FBB-401E-8BFD-7EAB5618B5F1}"/>
                </a:ext>
              </a:extLst>
            </p:cNvPr>
            <p:cNvGrpSpPr/>
            <p:nvPr/>
          </p:nvGrpSpPr>
          <p:grpSpPr>
            <a:xfrm>
              <a:off x="1821547" y="5054073"/>
              <a:ext cx="731973" cy="637818"/>
              <a:chOff x="1821547" y="5054073"/>
              <a:chExt cx="731973" cy="637818"/>
            </a:xfrm>
          </p:grpSpPr>
          <p:pic>
            <p:nvPicPr>
              <p:cNvPr id="64" name="Picture 63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208660" y="5054073"/>
                <a:ext cx="344860" cy="337553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65" name="Picture 6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237565" y="5401286"/>
                <a:ext cx="290605" cy="290605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66" name="Picture 6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832922" y="5071858"/>
                <a:ext cx="293406" cy="294183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72" name="Picture 71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821547" y="5404666"/>
                <a:ext cx="285639" cy="285295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1E90259-AB4E-43A5-9E50-70B6CD44DF09}"/>
                </a:ext>
              </a:extLst>
            </p:cNvPr>
            <p:cNvGrpSpPr/>
            <p:nvPr/>
          </p:nvGrpSpPr>
          <p:grpSpPr>
            <a:xfrm>
              <a:off x="4989682" y="5234293"/>
              <a:ext cx="643875" cy="312295"/>
              <a:chOff x="4989682" y="5234293"/>
              <a:chExt cx="643875" cy="312295"/>
            </a:xfrm>
          </p:grpSpPr>
          <p:pic>
            <p:nvPicPr>
              <p:cNvPr id="70" name="Picture 69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342952" y="5255983"/>
                <a:ext cx="290605" cy="290605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74" name="Picture 7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989682" y="5234293"/>
                <a:ext cx="293406" cy="294183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E5BA9F0-075D-42FB-9887-32B2432478A5}"/>
                </a:ext>
              </a:extLst>
            </p:cNvPr>
            <p:cNvGrpSpPr/>
            <p:nvPr/>
          </p:nvGrpSpPr>
          <p:grpSpPr>
            <a:xfrm>
              <a:off x="6068588" y="5034370"/>
              <a:ext cx="694555" cy="619756"/>
              <a:chOff x="6068588" y="5034370"/>
              <a:chExt cx="694555" cy="619756"/>
            </a:xfrm>
          </p:grpSpPr>
          <p:pic>
            <p:nvPicPr>
              <p:cNvPr id="73" name="Picture 72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070456" y="5034370"/>
                <a:ext cx="293406" cy="294183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75" name="Picture 7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472538" y="5036158"/>
                <a:ext cx="290605" cy="290605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76" name="Picture 7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068588" y="5331741"/>
                <a:ext cx="328015" cy="322385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DF94DB1-CDBD-4720-8ED6-320B34D7F6FB}"/>
                </a:ext>
              </a:extLst>
            </p:cNvPr>
            <p:cNvGrpSpPr/>
            <p:nvPr/>
          </p:nvGrpSpPr>
          <p:grpSpPr>
            <a:xfrm>
              <a:off x="7251687" y="5202889"/>
              <a:ext cx="688391" cy="325587"/>
              <a:chOff x="7251687" y="5202889"/>
              <a:chExt cx="688391" cy="325587"/>
            </a:xfrm>
          </p:grpSpPr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665758" y="5202889"/>
                <a:ext cx="274320" cy="285563"/>
              </a:xfrm>
              <a:prstGeom prst="rect">
                <a:avLst/>
              </a:prstGeom>
            </p:spPr>
          </p:pic>
          <p:pic>
            <p:nvPicPr>
              <p:cNvPr id="77" name="Picture 7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251687" y="5206091"/>
                <a:ext cx="328015" cy="322385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</p:grpSp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366012" y="5192978"/>
              <a:ext cx="344860" cy="337553"/>
            </a:xfrm>
            <a:prstGeom prst="rect">
              <a:avLst/>
            </a:prstGeom>
            <a:solidFill>
              <a:sysClr val="window" lastClr="FFFFFF"/>
            </a:solidFill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385710" y="5196190"/>
              <a:ext cx="344860" cy="337553"/>
            </a:xfrm>
            <a:prstGeom prst="rect">
              <a:avLst/>
            </a:prstGeom>
            <a:solidFill>
              <a:sysClr val="window" lastClr="FFFFFF"/>
            </a:solidFill>
          </p:spPr>
        </p:pic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5B4F6BA-916E-4729-AD76-C5EDD157B5A7}"/>
                </a:ext>
              </a:extLst>
            </p:cNvPr>
            <p:cNvGrpSpPr/>
            <p:nvPr/>
          </p:nvGrpSpPr>
          <p:grpSpPr>
            <a:xfrm>
              <a:off x="10261831" y="5058031"/>
              <a:ext cx="724630" cy="642394"/>
              <a:chOff x="10261831" y="5058031"/>
              <a:chExt cx="724630" cy="642394"/>
            </a:xfrm>
          </p:grpSpPr>
          <p:pic>
            <p:nvPicPr>
              <p:cNvPr id="80" name="Picture 79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261831" y="5073907"/>
                <a:ext cx="293406" cy="294183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81" name="Picture 80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641601" y="5058031"/>
                <a:ext cx="344860" cy="337553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82" name="Picture 81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437011" y="5378040"/>
                <a:ext cx="328015" cy="322385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</p:grpSp>
      </p:grpSp>
    </p:spTree>
    <p:extLst>
      <p:ext uri="{BB962C8B-B14F-4D97-AF65-F5344CB8AC3E}">
        <p14:creationId xmlns:p14="http://schemas.microsoft.com/office/powerpoint/2010/main" val="76830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08564"/>
          </a:xfrm>
        </p:spPr>
        <p:txBody>
          <a:bodyPr/>
          <a:lstStyle/>
          <a:p>
            <a:r>
              <a:rPr lang="en-US" dirty="0"/>
              <a:t>Benefits of Adobe Targe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C892ECA-37A8-4E7B-8203-484603D4B8AF}"/>
              </a:ext>
            </a:extLst>
          </p:cNvPr>
          <p:cNvGrpSpPr/>
          <p:nvPr/>
        </p:nvGrpSpPr>
        <p:grpSpPr>
          <a:xfrm>
            <a:off x="1272300" y="1035728"/>
            <a:ext cx="9129875" cy="5231166"/>
            <a:chOff x="1234883" y="911903"/>
            <a:chExt cx="9129875" cy="5231166"/>
          </a:xfrm>
        </p:grpSpPr>
        <p:sp>
          <p:nvSpPr>
            <p:cNvPr id="8" name="Rectangle 7"/>
            <p:cNvSpPr/>
            <p:nvPr/>
          </p:nvSpPr>
          <p:spPr>
            <a:xfrm>
              <a:off x="7382071" y="2828925"/>
              <a:ext cx="2982687" cy="1323439"/>
            </a:xfrm>
            <a:prstGeom prst="rect">
              <a:avLst/>
            </a:prstGeom>
            <a:ln>
              <a:solidFill>
                <a:srgbClr val="7030A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gage, Cross-sell, Upsell</a:t>
              </a:r>
            </a:p>
            <a:p>
              <a:endPara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commendations for every context - Home page, Product pages, Checkout, e-mail.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4345894" y="911903"/>
              <a:ext cx="2982687" cy="132343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tem Boosting</a:t>
              </a:r>
            </a:p>
            <a:p>
              <a:endPara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tuitive Marketer controls for high degree of customized presentation and messaging.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497474" y="4819630"/>
              <a:ext cx="2971802" cy="1323439"/>
            </a:xfrm>
            <a:prstGeom prst="rect">
              <a:avLst/>
            </a:prstGeom>
            <a:ln>
              <a:solidFill>
                <a:schemeClr val="accent4">
                  <a:lumMod val="9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nitor, test, and optimize</a:t>
              </a:r>
            </a:p>
            <a:p>
              <a:endPara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st &amp; compare recommendations. </a:t>
              </a:r>
            </a:p>
            <a:p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nitor real-time performance.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664516" y="4819630"/>
              <a:ext cx="3526969" cy="1323439"/>
            </a:xfrm>
            <a:prstGeom prst="rect">
              <a:avLst/>
            </a:prstGeom>
            <a:ln>
              <a:solidFill>
                <a:schemeClr val="accent2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rich with Analytics</a:t>
              </a: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tegrate with Analytics to eliminate “cold start,” and optimize effectiveness with unique business metrics.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4883" y="2828925"/>
              <a:ext cx="2993570" cy="132343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utomated Recommendations</a:t>
              </a:r>
            </a:p>
            <a:p>
              <a:endPara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liminate expensive, time-intensive manual approaches to recommendations.</a:t>
              </a: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44050" y="3055405"/>
              <a:ext cx="743228" cy="730471"/>
            </a:xfrm>
            <a:prstGeom prst="rect">
              <a:avLst/>
            </a:prstGeom>
            <a:solidFill>
              <a:sysClr val="window" lastClr="FFFFFF"/>
            </a:solidFill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809251C-97B7-49CB-90B8-5103785B4890}"/>
                </a:ext>
              </a:extLst>
            </p:cNvPr>
            <p:cNvSpPr/>
            <p:nvPr/>
          </p:nvSpPr>
          <p:spPr>
            <a:xfrm>
              <a:off x="5517920" y="3844587"/>
              <a:ext cx="63863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Target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DB9F72E-AB4B-47A6-AEA9-4EB51118C5C7}"/>
                </a:ext>
              </a:extLst>
            </p:cNvPr>
            <p:cNvGrpSpPr/>
            <p:nvPr/>
          </p:nvGrpSpPr>
          <p:grpSpPr>
            <a:xfrm>
              <a:off x="4388501" y="2400195"/>
              <a:ext cx="2795421" cy="2235330"/>
              <a:chOff x="4388501" y="2400195"/>
              <a:chExt cx="2795421" cy="2235330"/>
            </a:xfrm>
          </p:grpSpPr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DD51E072-764B-4DFE-BAEC-30D3EB8800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34825" y="3442339"/>
                <a:ext cx="449097" cy="0"/>
              </a:xfrm>
              <a:prstGeom prst="straightConnector1">
                <a:avLst/>
              </a:prstGeom>
              <a:ln w="28575">
                <a:solidFill>
                  <a:schemeClr val="tx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Arrow Connector 23">
                <a:extLst>
                  <a:ext uri="{FF2B5EF4-FFF2-40B4-BE49-F238E27FC236}">
                    <a16:creationId xmlns:a16="http://schemas.microsoft.com/office/drawing/2014/main" id="{88BEB80E-66DD-4B63-B5CC-749A93F236A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388501" y="3420641"/>
                <a:ext cx="383534" cy="0"/>
              </a:xfrm>
              <a:prstGeom prst="straightConnector1">
                <a:avLst/>
              </a:prstGeom>
              <a:ln w="28575">
                <a:solidFill>
                  <a:schemeClr val="tx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24">
                <a:extLst>
                  <a:ext uri="{FF2B5EF4-FFF2-40B4-BE49-F238E27FC236}">
                    <a16:creationId xmlns:a16="http://schemas.microsoft.com/office/drawing/2014/main" id="{E7E4CAD5-72BB-49BF-9421-BE118031569E}"/>
                  </a:ext>
                </a:extLst>
              </p:cNvPr>
              <p:cNvCxnSpPr/>
              <p:nvPr/>
            </p:nvCxnSpPr>
            <p:spPr>
              <a:xfrm>
                <a:off x="6497474" y="4317490"/>
                <a:ext cx="273273" cy="296594"/>
              </a:xfrm>
              <a:prstGeom prst="straightConnector1">
                <a:avLst/>
              </a:prstGeom>
              <a:ln w="28575">
                <a:solidFill>
                  <a:schemeClr val="tx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C6447752-F656-4F7C-AACC-7356D28CA48E}"/>
                  </a:ext>
                </a:extLst>
              </p:cNvPr>
              <p:cNvCxnSpPr/>
              <p:nvPr/>
            </p:nvCxnSpPr>
            <p:spPr>
              <a:xfrm flipH="1">
                <a:off x="4897742" y="4296050"/>
                <a:ext cx="293743" cy="339475"/>
              </a:xfrm>
              <a:prstGeom prst="straightConnector1">
                <a:avLst/>
              </a:prstGeom>
              <a:ln w="28575">
                <a:solidFill>
                  <a:schemeClr val="tx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27B3B0FE-152D-4A96-91E3-1591F1FB3DB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806139" y="2400195"/>
                <a:ext cx="0" cy="358726"/>
              </a:xfrm>
              <a:prstGeom prst="straightConnector1">
                <a:avLst/>
              </a:prstGeom>
              <a:ln w="28575">
                <a:solidFill>
                  <a:schemeClr val="tx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18002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230014"/>
            <a:ext cx="10515600" cy="524840"/>
          </a:xfrm>
        </p:spPr>
        <p:txBody>
          <a:bodyPr/>
          <a:lstStyle/>
          <a:p>
            <a:r>
              <a:rPr lang="en-US" dirty="0"/>
              <a:t>Benefits of Target + Analytic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279172" y="2780619"/>
            <a:ext cx="2982687" cy="1323439"/>
          </a:xfrm>
          <a:prstGeom prst="rect">
            <a:avLst/>
          </a:prstGeom>
          <a:ln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Propensity Scoring</a:t>
            </a:r>
            <a:b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Predict which customers are the most likely to convert, so that they can be targeted efficiently.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357209" y="1135476"/>
            <a:ext cx="2902226" cy="107721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360-degree customer analysis</a:t>
            </a:r>
            <a:b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Build customer profiles with online and offline information</a:t>
            </a:r>
          </a:p>
        </p:txBody>
      </p:sp>
      <p:sp>
        <p:nvSpPr>
          <p:cNvPr id="26" name="Rectangle 25"/>
          <p:cNvSpPr/>
          <p:nvPr/>
        </p:nvSpPr>
        <p:spPr>
          <a:xfrm>
            <a:off x="6497474" y="4801585"/>
            <a:ext cx="2971802" cy="1323439"/>
          </a:xfrm>
          <a:prstGeom prst="rect">
            <a:avLst/>
          </a:prstGeom>
          <a:ln>
            <a:solidFill>
              <a:schemeClr val="accent4">
                <a:lumMod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Contribution analysis</a:t>
            </a:r>
            <a:b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Intelligently identify potential causes for anomalies in trended data.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197915" y="4820468"/>
            <a:ext cx="2993570" cy="1323439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Live Stream</a:t>
            </a:r>
            <a:b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See what’s happening right now with your site visitors through  real-time event visualization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261581" y="2758921"/>
            <a:ext cx="2993570" cy="13234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Customer Journey Optimization</a:t>
            </a:r>
            <a:b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Understand all points of interaction with customers to improve selling opportunitie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5772266" y="3618336"/>
            <a:ext cx="84279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Analytics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8033" y="3167384"/>
            <a:ext cx="398780" cy="39878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4948" y="3147328"/>
            <a:ext cx="494996" cy="486500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41" name="Rectangle 40"/>
          <p:cNvSpPr/>
          <p:nvPr/>
        </p:nvSpPr>
        <p:spPr>
          <a:xfrm>
            <a:off x="5006514" y="3605878"/>
            <a:ext cx="6386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4BAA0B-EFA1-4AA5-BA0F-942B5813A727}"/>
              </a:ext>
            </a:extLst>
          </p:cNvPr>
          <p:cNvSpPr/>
          <p:nvPr/>
        </p:nvSpPr>
        <p:spPr>
          <a:xfrm>
            <a:off x="5635314" y="3236689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13A69C2-67ED-48A8-A6F5-A68127462D0C}"/>
              </a:ext>
            </a:extLst>
          </p:cNvPr>
          <p:cNvGrpSpPr/>
          <p:nvPr/>
        </p:nvGrpSpPr>
        <p:grpSpPr>
          <a:xfrm>
            <a:off x="4388501" y="2400195"/>
            <a:ext cx="2795421" cy="2235330"/>
            <a:chOff x="4388501" y="2400195"/>
            <a:chExt cx="2795421" cy="2235330"/>
          </a:xfrm>
        </p:grpSpPr>
        <p:cxnSp>
          <p:nvCxnSpPr>
            <p:cNvPr id="22" name="Straight Arrow Connector 21"/>
            <p:cNvCxnSpPr>
              <a:cxnSpLocks/>
            </p:cNvCxnSpPr>
            <p:nvPr/>
          </p:nvCxnSpPr>
          <p:spPr>
            <a:xfrm>
              <a:off x="6734825" y="3442339"/>
              <a:ext cx="449097" cy="0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>
              <a:cxnSpLocks/>
            </p:cNvCxnSpPr>
            <p:nvPr/>
          </p:nvCxnSpPr>
          <p:spPr>
            <a:xfrm flipH="1">
              <a:off x="4388501" y="3420641"/>
              <a:ext cx="383534" cy="0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/>
            <p:nvPr/>
          </p:nvCxnSpPr>
          <p:spPr>
            <a:xfrm>
              <a:off x="6497474" y="4317490"/>
              <a:ext cx="273273" cy="296594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 flipH="1">
              <a:off x="4897742" y="4296050"/>
              <a:ext cx="293743" cy="339475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5DD877ED-CF1E-4912-9D8A-CDA97690BB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6139" y="2400195"/>
              <a:ext cx="0" cy="358726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1814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61999"/>
          </a:xfrm>
        </p:spPr>
        <p:txBody>
          <a:bodyPr/>
          <a:lstStyle/>
          <a:p>
            <a:r>
              <a:rPr lang="en-US" dirty="0"/>
              <a:t>How Adobe Target works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871704" y="1130379"/>
            <a:ext cx="6520196" cy="4190466"/>
            <a:chOff x="466725" y="742950"/>
            <a:chExt cx="8210550" cy="5372100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66725" y="742950"/>
              <a:ext cx="8210550" cy="5372100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0144" y="1117602"/>
              <a:ext cx="914400" cy="914400"/>
            </a:xfrm>
            <a:prstGeom prst="rect">
              <a:avLst/>
            </a:prstGeom>
          </p:spPr>
        </p:pic>
      </p:grpSp>
      <p:sp>
        <p:nvSpPr>
          <p:cNvPr id="19" name="Rectangle 18"/>
          <p:cNvSpPr/>
          <p:nvPr/>
        </p:nvSpPr>
        <p:spPr>
          <a:xfrm>
            <a:off x="579438" y="1424836"/>
            <a:ext cx="391477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Customer opens a webpage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Page is rendered along with Adobe </a:t>
            </a:r>
            <a:r>
              <a:rPr lang="en-US" sz="1400" b="1" i="1" dirty="0">
                <a:latin typeface="Calibri" panose="020F0502020204030204" pitchFamily="34" charset="0"/>
                <a:cs typeface="Calibri" panose="020F0502020204030204" pitchFamily="34" charset="0"/>
              </a:rPr>
              <a:t>M-boxes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M-box sends the page context to Adobe Target service and requests for relevant content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Adobe Target renders the relevant content to the m-boxes  according to the campaign rules.</a:t>
            </a:r>
          </a:p>
        </p:txBody>
      </p:sp>
      <p:sp>
        <p:nvSpPr>
          <p:cNvPr id="20" name="Rectangle 19"/>
          <p:cNvSpPr/>
          <p:nvPr/>
        </p:nvSpPr>
        <p:spPr>
          <a:xfrm>
            <a:off x="810627" y="5964631"/>
            <a:ext cx="869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*M-box stands for 'Marketing Box’. </a:t>
            </a:r>
          </a:p>
          <a:p>
            <a:r>
              <a:rPr lang="en-US" sz="1200" dirty="0"/>
              <a:t>It is a designated area on the web page, which is meant for promotions and campaigns managed by Adobe Target.</a:t>
            </a:r>
          </a:p>
        </p:txBody>
      </p:sp>
    </p:spTree>
    <p:extLst>
      <p:ext uri="{BB962C8B-B14F-4D97-AF65-F5344CB8AC3E}">
        <p14:creationId xmlns:p14="http://schemas.microsoft.com/office/powerpoint/2010/main" val="330354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8DE1EE9-E2E6-4771-AE3C-3323E542DB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290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307" imgH="307" progId="TCLayout.ActiveDocument.1">
                  <p:embed/>
                </p:oleObj>
              </mc:Choice>
              <mc:Fallback>
                <p:oleObj name="think-cell Slide" r:id="rId6" imgW="307" imgH="30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8DE1EE9-E2E6-4771-AE3C-3323E542DB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E18F4319-43AA-4730-96AE-D67F8386910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9" b="7709"/>
          <a:stretch>
            <a:fillRect/>
          </a:stretch>
        </p:blipFill>
        <p:spPr/>
      </p:pic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E57145-893E-41A7-A5F4-EB165CEC57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1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10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A412B-F716-421C-B3D7-A95A9A664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634" y="63825"/>
            <a:ext cx="11435778" cy="567281"/>
          </a:xfrm>
        </p:spPr>
        <p:txBody>
          <a:bodyPr/>
          <a:lstStyle/>
          <a:p>
            <a:r>
              <a:rPr lang="en-GB" dirty="0"/>
              <a:t>Concept: Next-gen Insurance Solution</a:t>
            </a:r>
          </a:p>
        </p:txBody>
      </p:sp>
      <p:sp>
        <p:nvSpPr>
          <p:cNvPr id="284" name="Freeform 30">
            <a:extLst>
              <a:ext uri="{FF2B5EF4-FFF2-40B4-BE49-F238E27FC236}">
                <a16:creationId xmlns:a16="http://schemas.microsoft.com/office/drawing/2014/main" id="{7991250C-CC80-7241-A0C3-BC12A7A5F5F7}"/>
              </a:ext>
            </a:extLst>
          </p:cNvPr>
          <p:cNvSpPr/>
          <p:nvPr/>
        </p:nvSpPr>
        <p:spPr>
          <a:xfrm>
            <a:off x="8858304" y="68037"/>
            <a:ext cx="1418066" cy="83674"/>
          </a:xfrm>
          <a:custGeom>
            <a:avLst/>
            <a:gdLst>
              <a:gd name="connsiteX0" fmla="*/ 886 w 1418065"/>
              <a:gd name="connsiteY0" fmla="*/ 339 h 83674"/>
              <a:gd name="connsiteX1" fmla="*/ 1418951 w 1418065"/>
              <a:gd name="connsiteY1" fmla="*/ 339 h 83674"/>
              <a:gd name="connsiteX2" fmla="*/ 1418951 w 1418065"/>
              <a:gd name="connsiteY2" fmla="*/ 84013 h 83674"/>
              <a:gd name="connsiteX3" fmla="*/ 886 w 1418065"/>
              <a:gd name="connsiteY3" fmla="*/ 84013 h 83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8065" h="83674">
                <a:moveTo>
                  <a:pt x="886" y="339"/>
                </a:moveTo>
                <a:lnTo>
                  <a:pt x="1418951" y="339"/>
                </a:lnTo>
                <a:lnTo>
                  <a:pt x="1418951" y="84013"/>
                </a:lnTo>
                <a:lnTo>
                  <a:pt x="886" y="84013"/>
                </a:lnTo>
                <a:close/>
              </a:path>
            </a:pathLst>
          </a:custGeom>
          <a:noFill/>
          <a:ln w="5470" cap="flat">
            <a:noFill/>
            <a:prstDash val="solid"/>
            <a:miter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8F5E133-CECF-4F74-A412-4D095151E2EB}"/>
              </a:ext>
            </a:extLst>
          </p:cNvPr>
          <p:cNvGrpSpPr/>
          <p:nvPr/>
        </p:nvGrpSpPr>
        <p:grpSpPr>
          <a:xfrm>
            <a:off x="1204449" y="1073046"/>
            <a:ext cx="7456981" cy="4850768"/>
            <a:chOff x="1204449" y="1073046"/>
            <a:chExt cx="7456981" cy="4850768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B8C9713E-7254-41A9-A423-7DE85DD94BB0}"/>
                </a:ext>
              </a:extLst>
            </p:cNvPr>
            <p:cNvGrpSpPr/>
            <p:nvPr/>
          </p:nvGrpSpPr>
          <p:grpSpPr>
            <a:xfrm>
              <a:off x="1204449" y="1073046"/>
              <a:ext cx="5964114" cy="4850768"/>
              <a:chOff x="1204449" y="1073046"/>
              <a:chExt cx="5964114" cy="4850768"/>
            </a:xfrm>
          </p:grpSpPr>
          <p:sp>
            <p:nvSpPr>
              <p:cNvPr id="51" name="object 103">
                <a:extLst>
                  <a:ext uri="{FF2B5EF4-FFF2-40B4-BE49-F238E27FC236}">
                    <a16:creationId xmlns:a16="http://schemas.microsoft.com/office/drawing/2014/main" id="{30FD21B7-54DD-4BD3-989F-D46A388E246F}"/>
                  </a:ext>
                </a:extLst>
              </p:cNvPr>
              <p:cNvSpPr/>
              <p:nvPr/>
            </p:nvSpPr>
            <p:spPr>
              <a:xfrm>
                <a:off x="1215793" y="2863849"/>
                <a:ext cx="5948036" cy="1224841"/>
              </a:xfrm>
              <a:custGeom>
                <a:avLst/>
                <a:gdLst/>
                <a:ahLst/>
                <a:cxnLst/>
                <a:rect l="l" t="t" r="r" b="b"/>
                <a:pathLst>
                  <a:path w="1769110" h="1626870">
                    <a:moveTo>
                      <a:pt x="0" y="1626488"/>
                    </a:moveTo>
                    <a:lnTo>
                      <a:pt x="1768983" y="1626488"/>
                    </a:lnTo>
                    <a:lnTo>
                      <a:pt x="1768983" y="0"/>
                    </a:lnTo>
                    <a:lnTo>
                      <a:pt x="0" y="0"/>
                    </a:lnTo>
                    <a:lnTo>
                      <a:pt x="0" y="1626488"/>
                    </a:lnTo>
                    <a:close/>
                  </a:path>
                </a:pathLst>
              </a:custGeom>
              <a:solidFill>
                <a:srgbClr val="F5F9F9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/>
                </a:endParaRPr>
              </a:p>
            </p:txBody>
          </p:sp>
          <p:sp>
            <p:nvSpPr>
              <p:cNvPr id="138" name="object 103">
                <a:extLst>
                  <a:ext uri="{FF2B5EF4-FFF2-40B4-BE49-F238E27FC236}">
                    <a16:creationId xmlns:a16="http://schemas.microsoft.com/office/drawing/2014/main" id="{8046C0E3-9F3C-4C6A-A13D-39107930EE39}"/>
                  </a:ext>
                </a:extLst>
              </p:cNvPr>
              <p:cNvSpPr/>
              <p:nvPr/>
            </p:nvSpPr>
            <p:spPr>
              <a:xfrm>
                <a:off x="1211454" y="4180333"/>
                <a:ext cx="5957109" cy="961317"/>
              </a:xfrm>
              <a:custGeom>
                <a:avLst/>
                <a:gdLst/>
                <a:ahLst/>
                <a:cxnLst/>
                <a:rect l="l" t="t" r="r" b="b"/>
                <a:pathLst>
                  <a:path w="1769110" h="1626870">
                    <a:moveTo>
                      <a:pt x="0" y="1626488"/>
                    </a:moveTo>
                    <a:lnTo>
                      <a:pt x="1768983" y="1626488"/>
                    </a:lnTo>
                    <a:lnTo>
                      <a:pt x="1768983" y="0"/>
                    </a:lnTo>
                    <a:lnTo>
                      <a:pt x="0" y="0"/>
                    </a:lnTo>
                    <a:lnTo>
                      <a:pt x="0" y="1626488"/>
                    </a:lnTo>
                    <a:close/>
                  </a:path>
                </a:pathLst>
              </a:custGeom>
              <a:solidFill>
                <a:srgbClr val="F5F9F9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" name="object 103">
                <a:extLst>
                  <a:ext uri="{FF2B5EF4-FFF2-40B4-BE49-F238E27FC236}">
                    <a16:creationId xmlns:a16="http://schemas.microsoft.com/office/drawing/2014/main" id="{E62F7C8B-CE36-4EC0-8E58-16300E65694F}"/>
                  </a:ext>
                </a:extLst>
              </p:cNvPr>
              <p:cNvSpPr/>
              <p:nvPr/>
            </p:nvSpPr>
            <p:spPr>
              <a:xfrm>
                <a:off x="1206718" y="1837482"/>
                <a:ext cx="5957109" cy="942529"/>
              </a:xfrm>
              <a:custGeom>
                <a:avLst/>
                <a:gdLst/>
                <a:ahLst/>
                <a:cxnLst/>
                <a:rect l="l" t="t" r="r" b="b"/>
                <a:pathLst>
                  <a:path w="1769110" h="1626870">
                    <a:moveTo>
                      <a:pt x="0" y="1626488"/>
                    </a:moveTo>
                    <a:lnTo>
                      <a:pt x="1768983" y="1626488"/>
                    </a:lnTo>
                    <a:lnTo>
                      <a:pt x="1768983" y="0"/>
                    </a:lnTo>
                    <a:lnTo>
                      <a:pt x="0" y="0"/>
                    </a:lnTo>
                    <a:lnTo>
                      <a:pt x="0" y="1626488"/>
                    </a:lnTo>
                    <a:close/>
                  </a:path>
                </a:pathLst>
              </a:custGeom>
              <a:solidFill>
                <a:srgbClr val="F5F9F9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/>
                </a:endParaRPr>
              </a:p>
            </p:txBody>
          </p:sp>
          <p:sp>
            <p:nvSpPr>
              <p:cNvPr id="53" name="object 56">
                <a:extLst>
                  <a:ext uri="{FF2B5EF4-FFF2-40B4-BE49-F238E27FC236}">
                    <a16:creationId xmlns:a16="http://schemas.microsoft.com/office/drawing/2014/main" id="{7E05B7D7-E310-41E1-B341-4E7FA4BF4EDE}"/>
                  </a:ext>
                </a:extLst>
              </p:cNvPr>
              <p:cNvSpPr/>
              <p:nvPr/>
            </p:nvSpPr>
            <p:spPr>
              <a:xfrm>
                <a:off x="1211454" y="1406228"/>
                <a:ext cx="5952373" cy="390620"/>
              </a:xfrm>
              <a:custGeom>
                <a:avLst/>
                <a:gdLst/>
                <a:ahLst/>
                <a:cxnLst/>
                <a:rect l="l" t="t" r="r" b="b"/>
                <a:pathLst>
                  <a:path w="10325100" h="398144">
                    <a:moveTo>
                      <a:pt x="0" y="398081"/>
                    </a:moveTo>
                    <a:lnTo>
                      <a:pt x="10324719" y="398081"/>
                    </a:lnTo>
                    <a:lnTo>
                      <a:pt x="10324719" y="0"/>
                    </a:lnTo>
                    <a:lnTo>
                      <a:pt x="0" y="0"/>
                    </a:lnTo>
                    <a:lnTo>
                      <a:pt x="0" y="398081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" name="object 57">
                <a:extLst>
                  <a:ext uri="{FF2B5EF4-FFF2-40B4-BE49-F238E27FC236}">
                    <a16:creationId xmlns:a16="http://schemas.microsoft.com/office/drawing/2014/main" id="{CF1302DA-5ACB-421D-B32D-2365FC9FB34E}"/>
                  </a:ext>
                </a:extLst>
              </p:cNvPr>
              <p:cNvSpPr/>
              <p:nvPr/>
            </p:nvSpPr>
            <p:spPr>
              <a:xfrm>
                <a:off x="1737302" y="1436319"/>
                <a:ext cx="410321" cy="294678"/>
              </a:xfrm>
              <a:prstGeom prst="rect">
                <a:avLst/>
              </a:prstGeom>
              <a:blipFill>
                <a:blip r:embed="rId2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" name="object 58">
                <a:extLst>
                  <a:ext uri="{FF2B5EF4-FFF2-40B4-BE49-F238E27FC236}">
                    <a16:creationId xmlns:a16="http://schemas.microsoft.com/office/drawing/2014/main" id="{EACDF9A5-9E1A-469D-AE00-CF3B8E6BA9B4}"/>
                  </a:ext>
                </a:extLst>
              </p:cNvPr>
              <p:cNvSpPr/>
              <p:nvPr/>
            </p:nvSpPr>
            <p:spPr>
              <a:xfrm>
                <a:off x="1204449" y="1073046"/>
                <a:ext cx="1378441" cy="311126"/>
              </a:xfrm>
              <a:custGeom>
                <a:avLst/>
                <a:gdLst/>
                <a:ahLst/>
                <a:cxnLst/>
                <a:rect l="l" t="t" r="r" b="b"/>
                <a:pathLst>
                  <a:path w="2571115" h="365760">
                    <a:moveTo>
                      <a:pt x="2387930" y="0"/>
                    </a:moveTo>
                    <a:lnTo>
                      <a:pt x="0" y="0"/>
                    </a:lnTo>
                    <a:lnTo>
                      <a:pt x="0" y="365760"/>
                    </a:lnTo>
                    <a:lnTo>
                      <a:pt x="2387930" y="365760"/>
                    </a:lnTo>
                    <a:lnTo>
                      <a:pt x="2570810" y="182880"/>
                    </a:lnTo>
                    <a:lnTo>
                      <a:pt x="2387930" y="0"/>
                    </a:lnTo>
                    <a:close/>
                  </a:path>
                </a:pathLst>
              </a:custGeom>
              <a:solidFill>
                <a:srgbClr val="C3D7A4">
                  <a:lumMod val="60000"/>
                  <a:lumOff val="40000"/>
                </a:srgbClr>
              </a:solidFill>
            </p:spPr>
            <p:txBody>
              <a:bodyPr wrap="square" lIns="0" tIns="0" rIns="0" bIns="0" rtlCol="0" anchor="ctr"/>
              <a:lstStyle/>
              <a:p>
                <a:pPr algn="ctr">
                  <a:defRPr/>
                </a:pPr>
                <a:r>
                  <a:rPr lang="en-US" sz="1400" b="1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esearch</a:t>
                </a:r>
                <a:endParaRPr sz="1400" b="1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" name="object 60">
                <a:extLst>
                  <a:ext uri="{FF2B5EF4-FFF2-40B4-BE49-F238E27FC236}">
                    <a16:creationId xmlns:a16="http://schemas.microsoft.com/office/drawing/2014/main" id="{8905AED4-3C49-4AAE-9A3B-1DBD620893B4}"/>
                  </a:ext>
                </a:extLst>
              </p:cNvPr>
              <p:cNvSpPr/>
              <p:nvPr/>
            </p:nvSpPr>
            <p:spPr>
              <a:xfrm>
                <a:off x="2704918" y="1078183"/>
                <a:ext cx="1152685" cy="300072"/>
              </a:xfrm>
              <a:custGeom>
                <a:avLst/>
                <a:gdLst/>
                <a:ahLst/>
                <a:cxnLst/>
                <a:rect l="l" t="t" r="r" b="b"/>
                <a:pathLst>
                  <a:path w="2571115" h="365760">
                    <a:moveTo>
                      <a:pt x="2387854" y="0"/>
                    </a:moveTo>
                    <a:lnTo>
                      <a:pt x="0" y="0"/>
                    </a:lnTo>
                    <a:lnTo>
                      <a:pt x="0" y="365760"/>
                    </a:lnTo>
                    <a:lnTo>
                      <a:pt x="2387854" y="365760"/>
                    </a:lnTo>
                    <a:lnTo>
                      <a:pt x="2570734" y="182880"/>
                    </a:lnTo>
                    <a:lnTo>
                      <a:pt x="2387854" y="0"/>
                    </a:lnTo>
                    <a:close/>
                  </a:path>
                </a:pathLst>
              </a:custGeom>
              <a:solidFill>
                <a:srgbClr val="FFCB8B"/>
              </a:solidFill>
            </p:spPr>
            <p:txBody>
              <a:bodyPr wrap="square" lIns="0" tIns="0" rIns="0" bIns="0" rtlCol="0" anchor="ctr"/>
              <a:lstStyle/>
              <a:p>
                <a:pPr algn="ctr"/>
                <a:r>
                  <a:rPr lang="en-US" sz="1400" b="1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uy</a:t>
                </a:r>
                <a:endParaRPr sz="1400" b="1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" name="object 62">
                <a:extLst>
                  <a:ext uri="{FF2B5EF4-FFF2-40B4-BE49-F238E27FC236}">
                    <a16:creationId xmlns:a16="http://schemas.microsoft.com/office/drawing/2014/main" id="{5CC4942F-755E-47F3-948D-4A600B866161}"/>
                  </a:ext>
                </a:extLst>
              </p:cNvPr>
              <p:cNvSpPr/>
              <p:nvPr/>
            </p:nvSpPr>
            <p:spPr>
              <a:xfrm>
                <a:off x="3979631" y="1078183"/>
                <a:ext cx="1366955" cy="305990"/>
              </a:xfrm>
              <a:custGeom>
                <a:avLst/>
                <a:gdLst/>
                <a:ahLst/>
                <a:cxnLst/>
                <a:rect l="l" t="t" r="r" b="b"/>
                <a:pathLst>
                  <a:path w="2571115" h="365760">
                    <a:moveTo>
                      <a:pt x="2387981" y="0"/>
                    </a:moveTo>
                    <a:lnTo>
                      <a:pt x="0" y="0"/>
                    </a:lnTo>
                    <a:lnTo>
                      <a:pt x="0" y="365760"/>
                    </a:lnTo>
                    <a:lnTo>
                      <a:pt x="2387981" y="365760"/>
                    </a:lnTo>
                    <a:lnTo>
                      <a:pt x="2570861" y="182880"/>
                    </a:lnTo>
                    <a:lnTo>
                      <a:pt x="2387981" y="0"/>
                    </a:lnTo>
                    <a:close/>
                  </a:path>
                </a:pathLst>
              </a:custGeom>
              <a:solidFill>
                <a:srgbClr val="C5DBF1"/>
              </a:solidFill>
            </p:spPr>
            <p:txBody>
              <a:bodyPr wrap="square" lIns="0" tIns="0" rIns="0" bIns="0" rtlCol="0" anchor="ctr"/>
              <a:lstStyle/>
              <a:p>
                <a:pPr algn="ctr"/>
                <a:r>
                  <a:rPr lang="en-US" sz="1400" b="1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gage</a:t>
                </a:r>
                <a:endParaRPr sz="1400" b="1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" name="object 64">
                <a:extLst>
                  <a:ext uri="{FF2B5EF4-FFF2-40B4-BE49-F238E27FC236}">
                    <a16:creationId xmlns:a16="http://schemas.microsoft.com/office/drawing/2014/main" id="{A4FC649F-A4AC-4A84-9BFE-3F5BEA1B3012}"/>
                  </a:ext>
                </a:extLst>
              </p:cNvPr>
              <p:cNvSpPr/>
              <p:nvPr/>
            </p:nvSpPr>
            <p:spPr>
              <a:xfrm>
                <a:off x="5466695" y="1078182"/>
                <a:ext cx="1630808" cy="295403"/>
              </a:xfrm>
              <a:custGeom>
                <a:avLst/>
                <a:gdLst/>
                <a:ahLst/>
                <a:cxnLst/>
                <a:rect l="l" t="t" r="r" b="b"/>
                <a:pathLst>
                  <a:path w="2571115" h="365760">
                    <a:moveTo>
                      <a:pt x="2387854" y="0"/>
                    </a:moveTo>
                    <a:lnTo>
                      <a:pt x="0" y="0"/>
                    </a:lnTo>
                    <a:lnTo>
                      <a:pt x="0" y="365760"/>
                    </a:lnTo>
                    <a:lnTo>
                      <a:pt x="2387854" y="365760"/>
                    </a:lnTo>
                    <a:lnTo>
                      <a:pt x="2570734" y="182880"/>
                    </a:lnTo>
                    <a:lnTo>
                      <a:pt x="2387854" y="0"/>
                    </a:lnTo>
                    <a:close/>
                  </a:path>
                </a:pathLst>
              </a:custGeom>
              <a:solidFill>
                <a:srgbClr val="512373"/>
              </a:solidFill>
              <a:ln>
                <a:solidFill>
                  <a:schemeClr val="tx2"/>
                </a:solidFill>
              </a:ln>
            </p:spPr>
            <p:txBody>
              <a:bodyPr wrap="square" lIns="0" tIns="0" rIns="0" bIns="0" rtlCol="0" anchor="ctr"/>
              <a:lstStyle/>
              <a:p>
                <a:pPr algn="ctr"/>
                <a:r>
                  <a:rPr lang="en-US" sz="1400" b="1" dirty="0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dvocate</a:t>
                </a:r>
                <a:endParaRPr sz="14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" name="object 66">
                <a:extLst>
                  <a:ext uri="{FF2B5EF4-FFF2-40B4-BE49-F238E27FC236}">
                    <a16:creationId xmlns:a16="http://schemas.microsoft.com/office/drawing/2014/main" id="{701585AA-C551-4254-B129-ADFFD10E02DF}"/>
                  </a:ext>
                </a:extLst>
              </p:cNvPr>
              <p:cNvSpPr/>
              <p:nvPr/>
            </p:nvSpPr>
            <p:spPr>
              <a:xfrm>
                <a:off x="4729526" y="1439434"/>
                <a:ext cx="441411" cy="294678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" name="object 67">
                <a:extLst>
                  <a:ext uri="{FF2B5EF4-FFF2-40B4-BE49-F238E27FC236}">
                    <a16:creationId xmlns:a16="http://schemas.microsoft.com/office/drawing/2014/main" id="{AC733265-26E1-4716-BAC6-B37198792163}"/>
                  </a:ext>
                </a:extLst>
              </p:cNvPr>
              <p:cNvSpPr/>
              <p:nvPr/>
            </p:nvSpPr>
            <p:spPr>
              <a:xfrm>
                <a:off x="4435415" y="1457250"/>
                <a:ext cx="250147" cy="277858"/>
              </a:xfrm>
              <a:custGeom>
                <a:avLst/>
                <a:gdLst/>
                <a:ahLst/>
                <a:cxnLst/>
                <a:rect l="l" t="t" r="r" b="b"/>
                <a:pathLst>
                  <a:path w="278129" h="283210">
                    <a:moveTo>
                      <a:pt x="150989" y="234187"/>
                    </a:moveTo>
                    <a:lnTo>
                      <a:pt x="141440" y="236045"/>
                    </a:lnTo>
                    <a:lnTo>
                      <a:pt x="133558" y="241141"/>
                    </a:lnTo>
                    <a:lnTo>
                      <a:pt x="128200" y="248761"/>
                    </a:lnTo>
                    <a:lnTo>
                      <a:pt x="126224" y="258190"/>
                    </a:lnTo>
                    <a:lnTo>
                      <a:pt x="128200" y="267739"/>
                    </a:lnTo>
                    <a:lnTo>
                      <a:pt x="133558" y="275621"/>
                    </a:lnTo>
                    <a:lnTo>
                      <a:pt x="141440" y="280979"/>
                    </a:lnTo>
                    <a:lnTo>
                      <a:pt x="150989" y="282955"/>
                    </a:lnTo>
                    <a:lnTo>
                      <a:pt x="160537" y="280979"/>
                    </a:lnTo>
                    <a:lnTo>
                      <a:pt x="168419" y="275621"/>
                    </a:lnTo>
                    <a:lnTo>
                      <a:pt x="173777" y="267739"/>
                    </a:lnTo>
                    <a:lnTo>
                      <a:pt x="175754" y="258190"/>
                    </a:lnTo>
                    <a:lnTo>
                      <a:pt x="173777" y="248761"/>
                    </a:lnTo>
                    <a:lnTo>
                      <a:pt x="168419" y="241141"/>
                    </a:lnTo>
                    <a:lnTo>
                      <a:pt x="160537" y="236045"/>
                    </a:lnTo>
                    <a:lnTo>
                      <a:pt x="150989" y="234187"/>
                    </a:lnTo>
                    <a:close/>
                  </a:path>
                  <a:path w="278129" h="283210">
                    <a:moveTo>
                      <a:pt x="54723" y="48767"/>
                    </a:moveTo>
                    <a:lnTo>
                      <a:pt x="44817" y="48767"/>
                    </a:lnTo>
                    <a:lnTo>
                      <a:pt x="35827" y="50145"/>
                    </a:lnTo>
                    <a:lnTo>
                      <a:pt x="28434" y="53974"/>
                    </a:lnTo>
                    <a:lnTo>
                      <a:pt x="23421" y="59805"/>
                    </a:lnTo>
                    <a:lnTo>
                      <a:pt x="21576" y="67182"/>
                    </a:lnTo>
                    <a:lnTo>
                      <a:pt x="21576" y="162686"/>
                    </a:lnTo>
                    <a:lnTo>
                      <a:pt x="38467" y="162686"/>
                    </a:lnTo>
                    <a:lnTo>
                      <a:pt x="59676" y="241934"/>
                    </a:lnTo>
                    <a:lnTo>
                      <a:pt x="67550" y="270255"/>
                    </a:lnTo>
                    <a:lnTo>
                      <a:pt x="69582" y="277367"/>
                    </a:lnTo>
                    <a:lnTo>
                      <a:pt x="77456" y="282320"/>
                    </a:lnTo>
                    <a:lnTo>
                      <a:pt x="92950" y="278002"/>
                    </a:lnTo>
                    <a:lnTo>
                      <a:pt x="97268" y="270255"/>
                    </a:lnTo>
                    <a:lnTo>
                      <a:pt x="95109" y="262508"/>
                    </a:lnTo>
                    <a:lnTo>
                      <a:pt x="87997" y="234187"/>
                    </a:lnTo>
                    <a:lnTo>
                      <a:pt x="68947" y="162686"/>
                    </a:lnTo>
                    <a:lnTo>
                      <a:pt x="68947" y="103250"/>
                    </a:lnTo>
                    <a:lnTo>
                      <a:pt x="134098" y="103250"/>
                    </a:lnTo>
                    <a:lnTo>
                      <a:pt x="134098" y="101853"/>
                    </a:lnTo>
                    <a:lnTo>
                      <a:pt x="127621" y="95503"/>
                    </a:lnTo>
                    <a:lnTo>
                      <a:pt x="102856" y="95503"/>
                    </a:lnTo>
                    <a:lnTo>
                      <a:pt x="66788" y="59435"/>
                    </a:lnTo>
                    <a:lnTo>
                      <a:pt x="63232" y="53085"/>
                    </a:lnTo>
                    <a:lnTo>
                      <a:pt x="54723" y="48767"/>
                    </a:lnTo>
                    <a:close/>
                  </a:path>
                  <a:path w="278129" h="283210">
                    <a:moveTo>
                      <a:pt x="46341" y="212216"/>
                    </a:moveTo>
                    <a:lnTo>
                      <a:pt x="12305" y="244093"/>
                    </a:lnTo>
                    <a:lnTo>
                      <a:pt x="5203" y="252279"/>
                    </a:lnTo>
                    <a:lnTo>
                      <a:pt x="1017" y="260429"/>
                    </a:lnTo>
                    <a:lnTo>
                      <a:pt x="0" y="267650"/>
                    </a:lnTo>
                    <a:lnTo>
                      <a:pt x="2399" y="273049"/>
                    </a:lnTo>
                    <a:lnTo>
                      <a:pt x="7864" y="275643"/>
                    </a:lnTo>
                    <a:lnTo>
                      <a:pt x="15162" y="275034"/>
                    </a:lnTo>
                    <a:lnTo>
                      <a:pt x="23508" y="271496"/>
                    </a:lnTo>
                    <a:lnTo>
                      <a:pt x="32117" y="265302"/>
                    </a:lnTo>
                    <a:lnTo>
                      <a:pt x="54723" y="244093"/>
                    </a:lnTo>
                    <a:lnTo>
                      <a:pt x="46341" y="212216"/>
                    </a:lnTo>
                    <a:close/>
                  </a:path>
                  <a:path w="278129" h="283210">
                    <a:moveTo>
                      <a:pt x="134098" y="103250"/>
                    </a:moveTo>
                    <a:lnTo>
                      <a:pt x="68947" y="103250"/>
                    </a:lnTo>
                    <a:lnTo>
                      <a:pt x="90156" y="124459"/>
                    </a:lnTo>
                    <a:lnTo>
                      <a:pt x="119874" y="124459"/>
                    </a:lnTo>
                    <a:lnTo>
                      <a:pt x="185697" y="260429"/>
                    </a:lnTo>
                    <a:lnTo>
                      <a:pt x="189978" y="269493"/>
                    </a:lnTo>
                    <a:lnTo>
                      <a:pt x="217687" y="256158"/>
                    </a:lnTo>
                    <a:lnTo>
                      <a:pt x="194931" y="256158"/>
                    </a:lnTo>
                    <a:lnTo>
                      <a:pt x="129145" y="120903"/>
                    </a:lnTo>
                    <a:lnTo>
                      <a:pt x="131939" y="118109"/>
                    </a:lnTo>
                    <a:lnTo>
                      <a:pt x="134098" y="114553"/>
                    </a:lnTo>
                    <a:lnTo>
                      <a:pt x="134098" y="103250"/>
                    </a:lnTo>
                    <a:close/>
                  </a:path>
                  <a:path w="278129" h="283210">
                    <a:moveTo>
                      <a:pt x="263511" y="222884"/>
                    </a:moveTo>
                    <a:lnTo>
                      <a:pt x="194931" y="256158"/>
                    </a:lnTo>
                    <a:lnTo>
                      <a:pt x="217687" y="256158"/>
                    </a:lnTo>
                    <a:lnTo>
                      <a:pt x="267829" y="232028"/>
                    </a:lnTo>
                    <a:lnTo>
                      <a:pt x="263511" y="222884"/>
                    </a:lnTo>
                    <a:close/>
                  </a:path>
                  <a:path w="278129" h="283210">
                    <a:moveTo>
                      <a:pt x="191375" y="152145"/>
                    </a:moveTo>
                    <a:lnTo>
                      <a:pt x="159498" y="168401"/>
                    </a:lnTo>
                    <a:lnTo>
                      <a:pt x="197725" y="246887"/>
                    </a:lnTo>
                    <a:lnTo>
                      <a:pt x="235190" y="228472"/>
                    </a:lnTo>
                    <a:lnTo>
                      <a:pt x="207299" y="171957"/>
                    </a:lnTo>
                    <a:lnTo>
                      <a:pt x="201281" y="171957"/>
                    </a:lnTo>
                    <a:lnTo>
                      <a:pt x="191375" y="152145"/>
                    </a:lnTo>
                    <a:close/>
                  </a:path>
                  <a:path w="278129" h="283210">
                    <a:moveTo>
                      <a:pt x="240143" y="128777"/>
                    </a:moveTo>
                    <a:lnTo>
                      <a:pt x="207631" y="145033"/>
                    </a:lnTo>
                    <a:lnTo>
                      <a:pt x="216775" y="164083"/>
                    </a:lnTo>
                    <a:lnTo>
                      <a:pt x="210425" y="167639"/>
                    </a:lnTo>
                    <a:lnTo>
                      <a:pt x="238746" y="226440"/>
                    </a:lnTo>
                    <a:lnTo>
                      <a:pt x="277735" y="207263"/>
                    </a:lnTo>
                    <a:lnTo>
                      <a:pt x="240143" y="128777"/>
                    </a:lnTo>
                    <a:close/>
                  </a:path>
                  <a:path w="278129" h="283210">
                    <a:moveTo>
                      <a:pt x="206234" y="169798"/>
                    </a:moveTo>
                    <a:lnTo>
                      <a:pt x="201281" y="171957"/>
                    </a:lnTo>
                    <a:lnTo>
                      <a:pt x="207299" y="171957"/>
                    </a:lnTo>
                    <a:lnTo>
                      <a:pt x="206234" y="169798"/>
                    </a:lnTo>
                    <a:close/>
                  </a:path>
                  <a:path w="278129" h="283210">
                    <a:moveTo>
                      <a:pt x="61835" y="0"/>
                    </a:moveTo>
                    <a:lnTo>
                      <a:pt x="52504" y="1847"/>
                    </a:lnTo>
                    <a:lnTo>
                      <a:pt x="45102" y="6873"/>
                    </a:lnTo>
                    <a:lnTo>
                      <a:pt x="40225" y="14305"/>
                    </a:lnTo>
                    <a:lnTo>
                      <a:pt x="38467" y="23367"/>
                    </a:lnTo>
                    <a:lnTo>
                      <a:pt x="40225" y="32744"/>
                    </a:lnTo>
                    <a:lnTo>
                      <a:pt x="45102" y="40370"/>
                    </a:lnTo>
                    <a:lnTo>
                      <a:pt x="52504" y="45495"/>
                    </a:lnTo>
                    <a:lnTo>
                      <a:pt x="61835" y="47370"/>
                    </a:lnTo>
                    <a:lnTo>
                      <a:pt x="69054" y="46126"/>
                    </a:lnTo>
                    <a:lnTo>
                      <a:pt x="75487" y="42751"/>
                    </a:lnTo>
                    <a:lnTo>
                      <a:pt x="80587" y="37780"/>
                    </a:lnTo>
                    <a:lnTo>
                      <a:pt x="83806" y="31749"/>
                    </a:lnTo>
                    <a:lnTo>
                      <a:pt x="92477" y="29138"/>
                    </a:lnTo>
                    <a:lnTo>
                      <a:pt x="99173" y="25526"/>
                    </a:lnTo>
                    <a:lnTo>
                      <a:pt x="103487" y="20962"/>
                    </a:lnTo>
                    <a:lnTo>
                      <a:pt x="105015" y="15493"/>
                    </a:lnTo>
                    <a:lnTo>
                      <a:pt x="83806" y="15493"/>
                    </a:lnTo>
                    <a:lnTo>
                      <a:pt x="80587" y="9215"/>
                    </a:lnTo>
                    <a:lnTo>
                      <a:pt x="75487" y="4317"/>
                    </a:lnTo>
                    <a:lnTo>
                      <a:pt x="69054" y="1135"/>
                    </a:lnTo>
                    <a:lnTo>
                      <a:pt x="6183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" name="object 68">
                <a:extLst>
                  <a:ext uri="{FF2B5EF4-FFF2-40B4-BE49-F238E27FC236}">
                    <a16:creationId xmlns:a16="http://schemas.microsoft.com/office/drawing/2014/main" id="{E532D3B5-CFA2-4E94-9684-17E90429B97B}"/>
                  </a:ext>
                </a:extLst>
              </p:cNvPr>
              <p:cNvSpPr/>
              <p:nvPr/>
            </p:nvSpPr>
            <p:spPr>
              <a:xfrm>
                <a:off x="3256579" y="1439533"/>
                <a:ext cx="445901" cy="312645"/>
              </a:xfrm>
              <a:prstGeom prst="rect">
                <a:avLst/>
              </a:prstGeom>
              <a:blipFill>
                <a:blip r:embed="rId4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" name="object 69">
                <a:extLst>
                  <a:ext uri="{FF2B5EF4-FFF2-40B4-BE49-F238E27FC236}">
                    <a16:creationId xmlns:a16="http://schemas.microsoft.com/office/drawing/2014/main" id="{841B7571-AD41-4F8C-9B62-E0F630CE729A}"/>
                  </a:ext>
                </a:extLst>
              </p:cNvPr>
              <p:cNvSpPr/>
              <p:nvPr/>
            </p:nvSpPr>
            <p:spPr>
              <a:xfrm>
                <a:off x="5721580" y="1470708"/>
                <a:ext cx="109653" cy="221165"/>
              </a:xfrm>
              <a:custGeom>
                <a:avLst/>
                <a:gdLst/>
                <a:ahLst/>
                <a:cxnLst/>
                <a:rect l="l" t="t" r="r" b="b"/>
                <a:pathLst>
                  <a:path w="121920" h="225425">
                    <a:moveTo>
                      <a:pt x="64214" y="0"/>
                    </a:moveTo>
                    <a:lnTo>
                      <a:pt x="49248" y="2534"/>
                    </a:lnTo>
                    <a:lnTo>
                      <a:pt x="39544" y="9890"/>
                    </a:lnTo>
                    <a:lnTo>
                      <a:pt x="34174" y="21699"/>
                    </a:lnTo>
                    <a:lnTo>
                      <a:pt x="32210" y="37592"/>
                    </a:lnTo>
                    <a:lnTo>
                      <a:pt x="30559" y="38481"/>
                    </a:lnTo>
                    <a:lnTo>
                      <a:pt x="28908" y="41783"/>
                    </a:lnTo>
                    <a:lnTo>
                      <a:pt x="29670" y="44196"/>
                    </a:lnTo>
                    <a:lnTo>
                      <a:pt x="30559" y="54864"/>
                    </a:lnTo>
                    <a:lnTo>
                      <a:pt x="31321" y="58166"/>
                    </a:lnTo>
                    <a:lnTo>
                      <a:pt x="32972" y="60578"/>
                    </a:lnTo>
                    <a:lnTo>
                      <a:pt x="36274" y="61341"/>
                    </a:lnTo>
                    <a:lnTo>
                      <a:pt x="37163" y="65532"/>
                    </a:lnTo>
                    <a:lnTo>
                      <a:pt x="39576" y="68834"/>
                    </a:lnTo>
                    <a:lnTo>
                      <a:pt x="41227" y="72009"/>
                    </a:lnTo>
                    <a:lnTo>
                      <a:pt x="41227" y="85979"/>
                    </a:lnTo>
                    <a:lnTo>
                      <a:pt x="28967" y="90084"/>
                    </a:lnTo>
                    <a:lnTo>
                      <a:pt x="16303" y="95583"/>
                    </a:lnTo>
                    <a:lnTo>
                      <a:pt x="6258" y="101391"/>
                    </a:lnTo>
                    <a:lnTo>
                      <a:pt x="1857" y="106425"/>
                    </a:lnTo>
                    <a:lnTo>
                      <a:pt x="696" y="121237"/>
                    </a:lnTo>
                    <a:lnTo>
                      <a:pt x="0" y="145383"/>
                    </a:lnTo>
                    <a:lnTo>
                      <a:pt x="232" y="174434"/>
                    </a:lnTo>
                    <a:lnTo>
                      <a:pt x="7671" y="214508"/>
                    </a:lnTo>
                    <a:lnTo>
                      <a:pt x="64214" y="225171"/>
                    </a:lnTo>
                    <a:lnTo>
                      <a:pt x="79835" y="225171"/>
                    </a:lnTo>
                    <a:lnTo>
                      <a:pt x="79037" y="195826"/>
                    </a:lnTo>
                    <a:lnTo>
                      <a:pt x="79073" y="167862"/>
                    </a:lnTo>
                    <a:lnTo>
                      <a:pt x="83147" y="124467"/>
                    </a:lnTo>
                    <a:lnTo>
                      <a:pt x="104346" y="108966"/>
                    </a:lnTo>
                    <a:lnTo>
                      <a:pt x="109299" y="105664"/>
                    </a:lnTo>
                    <a:lnTo>
                      <a:pt x="115903" y="103124"/>
                    </a:lnTo>
                    <a:lnTo>
                      <a:pt x="121618" y="101600"/>
                    </a:lnTo>
                    <a:lnTo>
                      <a:pt x="114740" y="97158"/>
                    </a:lnTo>
                    <a:lnTo>
                      <a:pt x="105933" y="92837"/>
                    </a:lnTo>
                    <a:lnTo>
                      <a:pt x="96365" y="88991"/>
                    </a:lnTo>
                    <a:lnTo>
                      <a:pt x="87201" y="85979"/>
                    </a:lnTo>
                    <a:lnTo>
                      <a:pt x="87201" y="72009"/>
                    </a:lnTo>
                    <a:lnTo>
                      <a:pt x="88852" y="68834"/>
                    </a:lnTo>
                    <a:lnTo>
                      <a:pt x="91265" y="65532"/>
                    </a:lnTo>
                    <a:lnTo>
                      <a:pt x="92027" y="61341"/>
                    </a:lnTo>
                    <a:lnTo>
                      <a:pt x="95329" y="60578"/>
                    </a:lnTo>
                    <a:lnTo>
                      <a:pt x="96980" y="58166"/>
                    </a:lnTo>
                    <a:lnTo>
                      <a:pt x="97869" y="54864"/>
                    </a:lnTo>
                    <a:lnTo>
                      <a:pt x="98631" y="44196"/>
                    </a:lnTo>
                    <a:lnTo>
                      <a:pt x="99520" y="41783"/>
                    </a:lnTo>
                    <a:lnTo>
                      <a:pt x="97869" y="38481"/>
                    </a:lnTo>
                    <a:lnTo>
                      <a:pt x="96218" y="37592"/>
                    </a:lnTo>
                    <a:lnTo>
                      <a:pt x="94182" y="21699"/>
                    </a:lnTo>
                    <a:lnTo>
                      <a:pt x="88788" y="9890"/>
                    </a:lnTo>
                    <a:lnTo>
                      <a:pt x="79109" y="2534"/>
                    </a:lnTo>
                    <a:lnTo>
                      <a:pt x="64214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" name="object 70">
                <a:extLst>
                  <a:ext uri="{FF2B5EF4-FFF2-40B4-BE49-F238E27FC236}">
                    <a16:creationId xmlns:a16="http://schemas.microsoft.com/office/drawing/2014/main" id="{C167D62D-869F-45E5-AAF6-538F91B19F35}"/>
                  </a:ext>
                </a:extLst>
              </p:cNvPr>
              <p:cNvSpPr/>
              <p:nvPr/>
            </p:nvSpPr>
            <p:spPr>
              <a:xfrm>
                <a:off x="5832675" y="1486906"/>
                <a:ext cx="68533" cy="94073"/>
              </a:xfrm>
              <a:custGeom>
                <a:avLst/>
                <a:gdLst/>
                <a:ahLst/>
                <a:cxnLst/>
                <a:rect l="l" t="t" r="r" b="b"/>
                <a:pathLst>
                  <a:path w="76200" h="95885">
                    <a:moveTo>
                      <a:pt x="37718" y="0"/>
                    </a:moveTo>
                    <a:lnTo>
                      <a:pt x="21732" y="2710"/>
                    </a:lnTo>
                    <a:lnTo>
                      <a:pt x="11271" y="10636"/>
                    </a:lnTo>
                    <a:lnTo>
                      <a:pt x="5429" y="23467"/>
                    </a:lnTo>
                    <a:lnTo>
                      <a:pt x="3301" y="40893"/>
                    </a:lnTo>
                    <a:lnTo>
                      <a:pt x="888" y="42544"/>
                    </a:lnTo>
                    <a:lnTo>
                      <a:pt x="0" y="44957"/>
                    </a:lnTo>
                    <a:lnTo>
                      <a:pt x="0" y="48259"/>
                    </a:lnTo>
                    <a:lnTo>
                      <a:pt x="1650" y="59689"/>
                    </a:lnTo>
                    <a:lnTo>
                      <a:pt x="1650" y="62991"/>
                    </a:lnTo>
                    <a:lnTo>
                      <a:pt x="4063" y="65404"/>
                    </a:lnTo>
                    <a:lnTo>
                      <a:pt x="7365" y="66293"/>
                    </a:lnTo>
                    <a:lnTo>
                      <a:pt x="9016" y="71246"/>
                    </a:lnTo>
                    <a:lnTo>
                      <a:pt x="10667" y="75310"/>
                    </a:lnTo>
                    <a:lnTo>
                      <a:pt x="13080" y="78612"/>
                    </a:lnTo>
                    <a:lnTo>
                      <a:pt x="13080" y="90042"/>
                    </a:lnTo>
                    <a:lnTo>
                      <a:pt x="22097" y="94106"/>
                    </a:lnTo>
                    <a:lnTo>
                      <a:pt x="30352" y="95757"/>
                    </a:lnTo>
                    <a:lnTo>
                      <a:pt x="45084" y="95757"/>
                    </a:lnTo>
                    <a:lnTo>
                      <a:pt x="53212" y="94106"/>
                    </a:lnTo>
                    <a:lnTo>
                      <a:pt x="62229" y="90042"/>
                    </a:lnTo>
                    <a:lnTo>
                      <a:pt x="62229" y="78612"/>
                    </a:lnTo>
                    <a:lnTo>
                      <a:pt x="64642" y="75310"/>
                    </a:lnTo>
                    <a:lnTo>
                      <a:pt x="67182" y="71246"/>
                    </a:lnTo>
                    <a:lnTo>
                      <a:pt x="68833" y="66293"/>
                    </a:lnTo>
                    <a:lnTo>
                      <a:pt x="71246" y="65404"/>
                    </a:lnTo>
                    <a:lnTo>
                      <a:pt x="73659" y="62991"/>
                    </a:lnTo>
                    <a:lnTo>
                      <a:pt x="74548" y="59689"/>
                    </a:lnTo>
                    <a:lnTo>
                      <a:pt x="75310" y="48259"/>
                    </a:lnTo>
                    <a:lnTo>
                      <a:pt x="76199" y="44957"/>
                    </a:lnTo>
                    <a:lnTo>
                      <a:pt x="74548" y="42544"/>
                    </a:lnTo>
                    <a:lnTo>
                      <a:pt x="72008" y="40893"/>
                    </a:lnTo>
                    <a:lnTo>
                      <a:pt x="70223" y="23467"/>
                    </a:lnTo>
                    <a:lnTo>
                      <a:pt x="64388" y="10636"/>
                    </a:lnTo>
                    <a:lnTo>
                      <a:pt x="53792" y="2710"/>
                    </a:lnTo>
                    <a:lnTo>
                      <a:pt x="37718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4" name="object 71">
                <a:extLst>
                  <a:ext uri="{FF2B5EF4-FFF2-40B4-BE49-F238E27FC236}">
                    <a16:creationId xmlns:a16="http://schemas.microsoft.com/office/drawing/2014/main" id="{74D4B6AE-3BB9-49CB-8F3E-52A9B91002EF}"/>
                  </a:ext>
                </a:extLst>
              </p:cNvPr>
              <p:cNvSpPr/>
              <p:nvPr/>
            </p:nvSpPr>
            <p:spPr>
              <a:xfrm>
                <a:off x="5804449" y="1579609"/>
                <a:ext cx="125645" cy="148274"/>
              </a:xfrm>
              <a:custGeom>
                <a:avLst/>
                <a:gdLst/>
                <a:ahLst/>
                <a:cxnLst/>
                <a:rect l="l" t="t" r="r" b="b"/>
                <a:pathLst>
                  <a:path w="139700" h="151130">
                    <a:moveTo>
                      <a:pt x="40909" y="0"/>
                    </a:moveTo>
                    <a:lnTo>
                      <a:pt x="2428" y="20574"/>
                    </a:lnTo>
                    <a:lnTo>
                      <a:pt x="0" y="63817"/>
                    </a:lnTo>
                    <a:lnTo>
                      <a:pt x="375" y="95761"/>
                    </a:lnTo>
                    <a:lnTo>
                      <a:pt x="8334" y="139269"/>
                    </a:lnTo>
                    <a:lnTo>
                      <a:pt x="69484" y="151003"/>
                    </a:lnTo>
                    <a:lnTo>
                      <a:pt x="95011" y="149965"/>
                    </a:lnTo>
                    <a:lnTo>
                      <a:pt x="116252" y="146319"/>
                    </a:lnTo>
                    <a:lnTo>
                      <a:pt x="131063" y="139269"/>
                    </a:lnTo>
                    <a:lnTo>
                      <a:pt x="137302" y="128016"/>
                    </a:lnTo>
                    <a:lnTo>
                      <a:pt x="138870" y="96901"/>
                    </a:lnTo>
                    <a:lnTo>
                      <a:pt x="54752" y="96901"/>
                    </a:lnTo>
                    <a:lnTo>
                      <a:pt x="37607" y="75565"/>
                    </a:lnTo>
                    <a:lnTo>
                      <a:pt x="45735" y="13970"/>
                    </a:lnTo>
                    <a:lnTo>
                      <a:pt x="43322" y="9017"/>
                    </a:lnTo>
                    <a:lnTo>
                      <a:pt x="41671" y="4953"/>
                    </a:lnTo>
                    <a:lnTo>
                      <a:pt x="40909" y="0"/>
                    </a:lnTo>
                    <a:close/>
                  </a:path>
                  <a:path w="139700" h="151130">
                    <a:moveTo>
                      <a:pt x="75961" y="11557"/>
                    </a:moveTo>
                    <a:lnTo>
                      <a:pt x="62880" y="11557"/>
                    </a:lnTo>
                    <a:lnTo>
                      <a:pt x="58054" y="27940"/>
                    </a:lnTo>
                    <a:lnTo>
                      <a:pt x="64531" y="31242"/>
                    </a:lnTo>
                    <a:lnTo>
                      <a:pt x="54752" y="96901"/>
                    </a:lnTo>
                    <a:lnTo>
                      <a:pt x="84216" y="96901"/>
                    </a:lnTo>
                    <a:lnTo>
                      <a:pt x="74310" y="31242"/>
                    </a:lnTo>
                    <a:lnTo>
                      <a:pt x="80914" y="27940"/>
                    </a:lnTo>
                    <a:lnTo>
                      <a:pt x="75961" y="11557"/>
                    </a:lnTo>
                    <a:close/>
                  </a:path>
                  <a:path w="139700" h="151130">
                    <a:moveTo>
                      <a:pt x="98821" y="0"/>
                    </a:moveTo>
                    <a:lnTo>
                      <a:pt x="98059" y="4064"/>
                    </a:lnTo>
                    <a:lnTo>
                      <a:pt x="96408" y="9017"/>
                    </a:lnTo>
                    <a:lnTo>
                      <a:pt x="93995" y="13970"/>
                    </a:lnTo>
                    <a:lnTo>
                      <a:pt x="102123" y="75565"/>
                    </a:lnTo>
                    <a:lnTo>
                      <a:pt x="84216" y="96901"/>
                    </a:lnTo>
                    <a:lnTo>
                      <a:pt x="138870" y="96901"/>
                    </a:lnTo>
                    <a:lnTo>
                      <a:pt x="138928" y="95761"/>
                    </a:lnTo>
                    <a:lnTo>
                      <a:pt x="139160" y="63817"/>
                    </a:lnTo>
                    <a:lnTo>
                      <a:pt x="138463" y="37111"/>
                    </a:lnTo>
                    <a:lnTo>
                      <a:pt x="137302" y="20574"/>
                    </a:lnTo>
                    <a:lnTo>
                      <a:pt x="133219" y="15591"/>
                    </a:lnTo>
                    <a:lnTo>
                      <a:pt x="123872" y="9953"/>
                    </a:lnTo>
                    <a:lnTo>
                      <a:pt x="111621" y="4482"/>
                    </a:lnTo>
                    <a:lnTo>
                      <a:pt x="98821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5" name="object 72">
                <a:extLst>
                  <a:ext uri="{FF2B5EF4-FFF2-40B4-BE49-F238E27FC236}">
                    <a16:creationId xmlns:a16="http://schemas.microsoft.com/office/drawing/2014/main" id="{9DB4D449-5075-4DD9-8A2F-5300606A553D}"/>
                  </a:ext>
                </a:extLst>
              </p:cNvPr>
              <p:cNvSpPr/>
              <p:nvPr/>
            </p:nvSpPr>
            <p:spPr>
              <a:xfrm>
                <a:off x="3055892" y="1461863"/>
                <a:ext cx="144491" cy="262282"/>
              </a:xfrm>
              <a:custGeom>
                <a:avLst/>
                <a:gdLst/>
                <a:ahLst/>
                <a:cxnLst/>
                <a:rect l="l" t="t" r="r" b="b"/>
                <a:pathLst>
                  <a:path w="160654" h="267335">
                    <a:moveTo>
                      <a:pt x="137160" y="0"/>
                    </a:moveTo>
                    <a:lnTo>
                      <a:pt x="23114" y="0"/>
                    </a:lnTo>
                    <a:lnTo>
                      <a:pt x="13983" y="1857"/>
                    </a:lnTo>
                    <a:lnTo>
                      <a:pt x="6651" y="6953"/>
                    </a:lnTo>
                    <a:lnTo>
                      <a:pt x="1772" y="14573"/>
                    </a:lnTo>
                    <a:lnTo>
                      <a:pt x="0" y="24003"/>
                    </a:lnTo>
                    <a:lnTo>
                      <a:pt x="0" y="243204"/>
                    </a:lnTo>
                    <a:lnTo>
                      <a:pt x="1772" y="252313"/>
                    </a:lnTo>
                    <a:lnTo>
                      <a:pt x="6651" y="259969"/>
                    </a:lnTo>
                    <a:lnTo>
                      <a:pt x="13983" y="265243"/>
                    </a:lnTo>
                    <a:lnTo>
                      <a:pt x="23114" y="267208"/>
                    </a:lnTo>
                    <a:lnTo>
                      <a:pt x="137160" y="267208"/>
                    </a:lnTo>
                    <a:lnTo>
                      <a:pt x="146290" y="265243"/>
                    </a:lnTo>
                    <a:lnTo>
                      <a:pt x="153622" y="259969"/>
                    </a:lnTo>
                    <a:lnTo>
                      <a:pt x="158501" y="252313"/>
                    </a:lnTo>
                    <a:lnTo>
                      <a:pt x="158964" y="249936"/>
                    </a:lnTo>
                    <a:lnTo>
                      <a:pt x="44069" y="249936"/>
                    </a:lnTo>
                    <a:lnTo>
                      <a:pt x="42545" y="248411"/>
                    </a:lnTo>
                    <a:lnTo>
                      <a:pt x="42545" y="228854"/>
                    </a:lnTo>
                    <a:lnTo>
                      <a:pt x="44069" y="228092"/>
                    </a:lnTo>
                    <a:lnTo>
                      <a:pt x="160274" y="228092"/>
                    </a:lnTo>
                    <a:lnTo>
                      <a:pt x="160274" y="211582"/>
                    </a:lnTo>
                    <a:lnTo>
                      <a:pt x="15113" y="211582"/>
                    </a:lnTo>
                    <a:lnTo>
                      <a:pt x="14351" y="210058"/>
                    </a:lnTo>
                    <a:lnTo>
                      <a:pt x="14351" y="23241"/>
                    </a:lnTo>
                    <a:lnTo>
                      <a:pt x="15113" y="21717"/>
                    </a:lnTo>
                    <a:lnTo>
                      <a:pt x="159844" y="21717"/>
                    </a:lnTo>
                    <a:lnTo>
                      <a:pt x="158501" y="14573"/>
                    </a:lnTo>
                    <a:lnTo>
                      <a:pt x="153622" y="6953"/>
                    </a:lnTo>
                    <a:lnTo>
                      <a:pt x="146290" y="1857"/>
                    </a:lnTo>
                    <a:lnTo>
                      <a:pt x="137160" y="0"/>
                    </a:lnTo>
                    <a:close/>
                  </a:path>
                  <a:path w="160654" h="267335">
                    <a:moveTo>
                      <a:pt x="70739" y="228092"/>
                    </a:moveTo>
                    <a:lnTo>
                      <a:pt x="54864" y="228092"/>
                    </a:lnTo>
                    <a:lnTo>
                      <a:pt x="56261" y="228854"/>
                    </a:lnTo>
                    <a:lnTo>
                      <a:pt x="56261" y="248411"/>
                    </a:lnTo>
                    <a:lnTo>
                      <a:pt x="54864" y="249936"/>
                    </a:lnTo>
                    <a:lnTo>
                      <a:pt x="70739" y="249936"/>
                    </a:lnTo>
                    <a:lnTo>
                      <a:pt x="69342" y="248411"/>
                    </a:lnTo>
                    <a:lnTo>
                      <a:pt x="69342" y="228854"/>
                    </a:lnTo>
                    <a:lnTo>
                      <a:pt x="70739" y="228092"/>
                    </a:lnTo>
                    <a:close/>
                  </a:path>
                  <a:path w="160654" h="267335">
                    <a:moveTo>
                      <a:pt x="104648" y="228092"/>
                    </a:moveTo>
                    <a:lnTo>
                      <a:pt x="89535" y="228092"/>
                    </a:lnTo>
                    <a:lnTo>
                      <a:pt x="90297" y="228854"/>
                    </a:lnTo>
                    <a:lnTo>
                      <a:pt x="90297" y="248411"/>
                    </a:lnTo>
                    <a:lnTo>
                      <a:pt x="89535" y="249936"/>
                    </a:lnTo>
                    <a:lnTo>
                      <a:pt x="104648" y="249936"/>
                    </a:lnTo>
                    <a:lnTo>
                      <a:pt x="104013" y="248411"/>
                    </a:lnTo>
                    <a:lnTo>
                      <a:pt x="104013" y="228854"/>
                    </a:lnTo>
                    <a:lnTo>
                      <a:pt x="104648" y="228092"/>
                    </a:lnTo>
                    <a:close/>
                  </a:path>
                  <a:path w="160654" h="267335">
                    <a:moveTo>
                      <a:pt x="160274" y="228092"/>
                    </a:moveTo>
                    <a:lnTo>
                      <a:pt x="116205" y="228092"/>
                    </a:lnTo>
                    <a:lnTo>
                      <a:pt x="117729" y="228854"/>
                    </a:lnTo>
                    <a:lnTo>
                      <a:pt x="117729" y="248411"/>
                    </a:lnTo>
                    <a:lnTo>
                      <a:pt x="116205" y="249936"/>
                    </a:lnTo>
                    <a:lnTo>
                      <a:pt x="158964" y="249936"/>
                    </a:lnTo>
                    <a:lnTo>
                      <a:pt x="160274" y="243204"/>
                    </a:lnTo>
                    <a:lnTo>
                      <a:pt x="160274" y="228092"/>
                    </a:lnTo>
                    <a:close/>
                  </a:path>
                  <a:path w="160654" h="267335">
                    <a:moveTo>
                      <a:pt x="159844" y="21717"/>
                    </a:moveTo>
                    <a:lnTo>
                      <a:pt x="144399" y="21717"/>
                    </a:lnTo>
                    <a:lnTo>
                      <a:pt x="145796" y="23241"/>
                    </a:lnTo>
                    <a:lnTo>
                      <a:pt x="145796" y="210058"/>
                    </a:lnTo>
                    <a:lnTo>
                      <a:pt x="144399" y="211582"/>
                    </a:lnTo>
                    <a:lnTo>
                      <a:pt x="160274" y="211582"/>
                    </a:lnTo>
                    <a:lnTo>
                      <a:pt x="160274" y="24003"/>
                    </a:lnTo>
                    <a:lnTo>
                      <a:pt x="159844" y="21717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6" name="object 73">
                <a:extLst>
                  <a:ext uri="{FF2B5EF4-FFF2-40B4-BE49-F238E27FC236}">
                    <a16:creationId xmlns:a16="http://schemas.microsoft.com/office/drawing/2014/main" id="{A22CD440-2104-4E2D-AD73-13ACC1BB116B}"/>
                  </a:ext>
                </a:extLst>
              </p:cNvPr>
              <p:cNvSpPr/>
              <p:nvPr/>
            </p:nvSpPr>
            <p:spPr>
              <a:xfrm>
                <a:off x="3081019" y="1497872"/>
                <a:ext cx="94805" cy="158242"/>
              </a:xfrm>
              <a:custGeom>
                <a:avLst/>
                <a:gdLst/>
                <a:ahLst/>
                <a:cxnLst/>
                <a:rect l="l" t="t" r="r" b="b"/>
                <a:pathLst>
                  <a:path w="105410" h="161289">
                    <a:moveTo>
                      <a:pt x="104901" y="0"/>
                    </a:moveTo>
                    <a:lnTo>
                      <a:pt x="104139" y="0"/>
                    </a:lnTo>
                    <a:lnTo>
                      <a:pt x="103504" y="762"/>
                    </a:lnTo>
                    <a:lnTo>
                      <a:pt x="761" y="158369"/>
                    </a:lnTo>
                    <a:lnTo>
                      <a:pt x="0" y="159766"/>
                    </a:lnTo>
                    <a:lnTo>
                      <a:pt x="0" y="161290"/>
                    </a:lnTo>
                    <a:lnTo>
                      <a:pt x="103504" y="161290"/>
                    </a:lnTo>
                    <a:lnTo>
                      <a:pt x="104901" y="159766"/>
                    </a:lnTo>
                    <a:lnTo>
                      <a:pt x="104901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7" name="object 74">
                <a:extLst>
                  <a:ext uri="{FF2B5EF4-FFF2-40B4-BE49-F238E27FC236}">
                    <a16:creationId xmlns:a16="http://schemas.microsoft.com/office/drawing/2014/main" id="{3CC2DF90-7B54-4BBD-9880-061C49D39F80}"/>
                  </a:ext>
                </a:extLst>
              </p:cNvPr>
              <p:cNvSpPr/>
              <p:nvPr/>
            </p:nvSpPr>
            <p:spPr>
              <a:xfrm>
                <a:off x="2087395" y="1461863"/>
                <a:ext cx="144491" cy="262282"/>
              </a:xfrm>
              <a:custGeom>
                <a:avLst/>
                <a:gdLst/>
                <a:ahLst/>
                <a:cxnLst/>
                <a:rect l="l" t="t" r="r" b="b"/>
                <a:pathLst>
                  <a:path w="160655" h="267335">
                    <a:moveTo>
                      <a:pt x="137160" y="0"/>
                    </a:moveTo>
                    <a:lnTo>
                      <a:pt x="23114" y="0"/>
                    </a:lnTo>
                    <a:lnTo>
                      <a:pt x="13983" y="1857"/>
                    </a:lnTo>
                    <a:lnTo>
                      <a:pt x="6651" y="6953"/>
                    </a:lnTo>
                    <a:lnTo>
                      <a:pt x="1772" y="14573"/>
                    </a:lnTo>
                    <a:lnTo>
                      <a:pt x="0" y="24003"/>
                    </a:lnTo>
                    <a:lnTo>
                      <a:pt x="0" y="243204"/>
                    </a:lnTo>
                    <a:lnTo>
                      <a:pt x="1772" y="252313"/>
                    </a:lnTo>
                    <a:lnTo>
                      <a:pt x="6651" y="259969"/>
                    </a:lnTo>
                    <a:lnTo>
                      <a:pt x="13983" y="265243"/>
                    </a:lnTo>
                    <a:lnTo>
                      <a:pt x="23114" y="267208"/>
                    </a:lnTo>
                    <a:lnTo>
                      <a:pt x="137160" y="267208"/>
                    </a:lnTo>
                    <a:lnTo>
                      <a:pt x="146290" y="265243"/>
                    </a:lnTo>
                    <a:lnTo>
                      <a:pt x="153622" y="259969"/>
                    </a:lnTo>
                    <a:lnTo>
                      <a:pt x="158501" y="252313"/>
                    </a:lnTo>
                    <a:lnTo>
                      <a:pt x="158964" y="249936"/>
                    </a:lnTo>
                    <a:lnTo>
                      <a:pt x="44069" y="249936"/>
                    </a:lnTo>
                    <a:lnTo>
                      <a:pt x="42545" y="248411"/>
                    </a:lnTo>
                    <a:lnTo>
                      <a:pt x="42545" y="228854"/>
                    </a:lnTo>
                    <a:lnTo>
                      <a:pt x="44069" y="228092"/>
                    </a:lnTo>
                    <a:lnTo>
                      <a:pt x="160274" y="228092"/>
                    </a:lnTo>
                    <a:lnTo>
                      <a:pt x="160274" y="211582"/>
                    </a:lnTo>
                    <a:lnTo>
                      <a:pt x="15113" y="211582"/>
                    </a:lnTo>
                    <a:lnTo>
                      <a:pt x="14478" y="210058"/>
                    </a:lnTo>
                    <a:lnTo>
                      <a:pt x="14478" y="23241"/>
                    </a:lnTo>
                    <a:lnTo>
                      <a:pt x="15113" y="21717"/>
                    </a:lnTo>
                    <a:lnTo>
                      <a:pt x="159844" y="21717"/>
                    </a:lnTo>
                    <a:lnTo>
                      <a:pt x="158501" y="14573"/>
                    </a:lnTo>
                    <a:lnTo>
                      <a:pt x="153622" y="6953"/>
                    </a:lnTo>
                    <a:lnTo>
                      <a:pt x="146290" y="1857"/>
                    </a:lnTo>
                    <a:lnTo>
                      <a:pt x="137160" y="0"/>
                    </a:lnTo>
                    <a:close/>
                  </a:path>
                  <a:path w="160655" h="267335">
                    <a:moveTo>
                      <a:pt x="70739" y="228092"/>
                    </a:moveTo>
                    <a:lnTo>
                      <a:pt x="54864" y="228092"/>
                    </a:lnTo>
                    <a:lnTo>
                      <a:pt x="56261" y="228854"/>
                    </a:lnTo>
                    <a:lnTo>
                      <a:pt x="56261" y="248411"/>
                    </a:lnTo>
                    <a:lnTo>
                      <a:pt x="54864" y="249936"/>
                    </a:lnTo>
                    <a:lnTo>
                      <a:pt x="70739" y="249936"/>
                    </a:lnTo>
                    <a:lnTo>
                      <a:pt x="69342" y="248411"/>
                    </a:lnTo>
                    <a:lnTo>
                      <a:pt x="69342" y="228854"/>
                    </a:lnTo>
                    <a:lnTo>
                      <a:pt x="70739" y="228092"/>
                    </a:lnTo>
                    <a:close/>
                  </a:path>
                  <a:path w="160655" h="267335">
                    <a:moveTo>
                      <a:pt x="104648" y="228092"/>
                    </a:moveTo>
                    <a:lnTo>
                      <a:pt x="89535" y="228092"/>
                    </a:lnTo>
                    <a:lnTo>
                      <a:pt x="90297" y="228854"/>
                    </a:lnTo>
                    <a:lnTo>
                      <a:pt x="90297" y="248411"/>
                    </a:lnTo>
                    <a:lnTo>
                      <a:pt x="89535" y="249936"/>
                    </a:lnTo>
                    <a:lnTo>
                      <a:pt x="104648" y="249936"/>
                    </a:lnTo>
                    <a:lnTo>
                      <a:pt x="104013" y="248411"/>
                    </a:lnTo>
                    <a:lnTo>
                      <a:pt x="104013" y="228854"/>
                    </a:lnTo>
                    <a:lnTo>
                      <a:pt x="104648" y="228092"/>
                    </a:lnTo>
                    <a:close/>
                  </a:path>
                  <a:path w="160655" h="267335">
                    <a:moveTo>
                      <a:pt x="160274" y="228092"/>
                    </a:moveTo>
                    <a:lnTo>
                      <a:pt x="116205" y="228092"/>
                    </a:lnTo>
                    <a:lnTo>
                      <a:pt x="117729" y="228854"/>
                    </a:lnTo>
                    <a:lnTo>
                      <a:pt x="117729" y="248411"/>
                    </a:lnTo>
                    <a:lnTo>
                      <a:pt x="116205" y="249936"/>
                    </a:lnTo>
                    <a:lnTo>
                      <a:pt x="158964" y="249936"/>
                    </a:lnTo>
                    <a:lnTo>
                      <a:pt x="160274" y="243204"/>
                    </a:lnTo>
                    <a:lnTo>
                      <a:pt x="160274" y="228092"/>
                    </a:lnTo>
                    <a:close/>
                  </a:path>
                  <a:path w="160655" h="267335">
                    <a:moveTo>
                      <a:pt x="159844" y="21717"/>
                    </a:moveTo>
                    <a:lnTo>
                      <a:pt x="144399" y="21717"/>
                    </a:lnTo>
                    <a:lnTo>
                      <a:pt x="145923" y="23241"/>
                    </a:lnTo>
                    <a:lnTo>
                      <a:pt x="145923" y="210058"/>
                    </a:lnTo>
                    <a:lnTo>
                      <a:pt x="144399" y="211582"/>
                    </a:lnTo>
                    <a:lnTo>
                      <a:pt x="160274" y="211582"/>
                    </a:lnTo>
                    <a:lnTo>
                      <a:pt x="160274" y="24003"/>
                    </a:lnTo>
                    <a:lnTo>
                      <a:pt x="159844" y="21717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8" name="object 75">
                <a:extLst>
                  <a:ext uri="{FF2B5EF4-FFF2-40B4-BE49-F238E27FC236}">
                    <a16:creationId xmlns:a16="http://schemas.microsoft.com/office/drawing/2014/main" id="{194FE0CE-F2D0-4E20-9A64-777EC857EF98}"/>
                  </a:ext>
                </a:extLst>
              </p:cNvPr>
              <p:cNvSpPr/>
              <p:nvPr/>
            </p:nvSpPr>
            <p:spPr>
              <a:xfrm>
                <a:off x="2112638" y="1497872"/>
                <a:ext cx="94233" cy="158242"/>
              </a:xfrm>
              <a:custGeom>
                <a:avLst/>
                <a:gdLst/>
                <a:ahLst/>
                <a:cxnLst/>
                <a:rect l="l" t="t" r="r" b="b"/>
                <a:pathLst>
                  <a:path w="104775" h="161289">
                    <a:moveTo>
                      <a:pt x="104775" y="0"/>
                    </a:moveTo>
                    <a:lnTo>
                      <a:pt x="104140" y="0"/>
                    </a:lnTo>
                    <a:lnTo>
                      <a:pt x="103378" y="762"/>
                    </a:lnTo>
                    <a:lnTo>
                      <a:pt x="635" y="158369"/>
                    </a:lnTo>
                    <a:lnTo>
                      <a:pt x="0" y="159766"/>
                    </a:lnTo>
                    <a:lnTo>
                      <a:pt x="0" y="161290"/>
                    </a:lnTo>
                    <a:lnTo>
                      <a:pt x="103378" y="161290"/>
                    </a:lnTo>
                    <a:lnTo>
                      <a:pt x="104775" y="159766"/>
                    </a:lnTo>
                    <a:lnTo>
                      <a:pt x="10477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9" name="object 76">
                <a:extLst>
                  <a:ext uri="{FF2B5EF4-FFF2-40B4-BE49-F238E27FC236}">
                    <a16:creationId xmlns:a16="http://schemas.microsoft.com/office/drawing/2014/main" id="{B24D6B25-B376-4169-93C3-76FB89185DF9}"/>
                  </a:ext>
                </a:extLst>
              </p:cNvPr>
              <p:cNvSpPr/>
              <p:nvPr/>
            </p:nvSpPr>
            <p:spPr>
              <a:xfrm>
                <a:off x="2314468" y="1471830"/>
                <a:ext cx="268423" cy="220542"/>
              </a:xfrm>
              <a:custGeom>
                <a:avLst/>
                <a:gdLst/>
                <a:ahLst/>
                <a:cxnLst/>
                <a:rect l="l" t="t" r="r" b="b"/>
                <a:pathLst>
                  <a:path w="298450" h="224789">
                    <a:moveTo>
                      <a:pt x="291338" y="0"/>
                    </a:moveTo>
                    <a:lnTo>
                      <a:pt x="7111" y="0"/>
                    </a:lnTo>
                    <a:lnTo>
                      <a:pt x="0" y="7112"/>
                    </a:lnTo>
                    <a:lnTo>
                      <a:pt x="0" y="217424"/>
                    </a:lnTo>
                    <a:lnTo>
                      <a:pt x="7111" y="224536"/>
                    </a:lnTo>
                    <a:lnTo>
                      <a:pt x="291338" y="224536"/>
                    </a:lnTo>
                    <a:lnTo>
                      <a:pt x="298450" y="217424"/>
                    </a:lnTo>
                    <a:lnTo>
                      <a:pt x="298450" y="215011"/>
                    </a:lnTo>
                    <a:lnTo>
                      <a:pt x="144526" y="215011"/>
                    </a:lnTo>
                    <a:lnTo>
                      <a:pt x="139700" y="211074"/>
                    </a:lnTo>
                    <a:lnTo>
                      <a:pt x="139700" y="200914"/>
                    </a:lnTo>
                    <a:lnTo>
                      <a:pt x="144526" y="196088"/>
                    </a:lnTo>
                    <a:lnTo>
                      <a:pt x="298450" y="196088"/>
                    </a:lnTo>
                    <a:lnTo>
                      <a:pt x="298450" y="187452"/>
                    </a:lnTo>
                    <a:lnTo>
                      <a:pt x="25272" y="187452"/>
                    </a:lnTo>
                    <a:lnTo>
                      <a:pt x="23749" y="185928"/>
                    </a:lnTo>
                    <a:lnTo>
                      <a:pt x="23749" y="25273"/>
                    </a:lnTo>
                    <a:lnTo>
                      <a:pt x="25272" y="23622"/>
                    </a:lnTo>
                    <a:lnTo>
                      <a:pt x="298450" y="23622"/>
                    </a:lnTo>
                    <a:lnTo>
                      <a:pt x="298450" y="7112"/>
                    </a:lnTo>
                    <a:lnTo>
                      <a:pt x="291338" y="0"/>
                    </a:lnTo>
                    <a:close/>
                  </a:path>
                  <a:path w="298450" h="224789">
                    <a:moveTo>
                      <a:pt x="298450" y="196088"/>
                    </a:moveTo>
                    <a:lnTo>
                      <a:pt x="154686" y="196088"/>
                    </a:lnTo>
                    <a:lnTo>
                      <a:pt x="158623" y="200914"/>
                    </a:lnTo>
                    <a:lnTo>
                      <a:pt x="158623" y="211074"/>
                    </a:lnTo>
                    <a:lnTo>
                      <a:pt x="154686" y="215011"/>
                    </a:lnTo>
                    <a:lnTo>
                      <a:pt x="298450" y="215011"/>
                    </a:lnTo>
                    <a:lnTo>
                      <a:pt x="298450" y="196088"/>
                    </a:lnTo>
                    <a:close/>
                  </a:path>
                  <a:path w="298450" h="224789">
                    <a:moveTo>
                      <a:pt x="298450" y="23622"/>
                    </a:moveTo>
                    <a:lnTo>
                      <a:pt x="273939" y="23622"/>
                    </a:lnTo>
                    <a:lnTo>
                      <a:pt x="274701" y="25273"/>
                    </a:lnTo>
                    <a:lnTo>
                      <a:pt x="274701" y="185928"/>
                    </a:lnTo>
                    <a:lnTo>
                      <a:pt x="273939" y="187452"/>
                    </a:lnTo>
                    <a:lnTo>
                      <a:pt x="298450" y="187452"/>
                    </a:lnTo>
                    <a:lnTo>
                      <a:pt x="298450" y="23622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0" name="object 77">
                <a:extLst>
                  <a:ext uri="{FF2B5EF4-FFF2-40B4-BE49-F238E27FC236}">
                    <a16:creationId xmlns:a16="http://schemas.microsoft.com/office/drawing/2014/main" id="{B0738A1E-0430-4198-A6E5-88A8AAAE0776}"/>
                  </a:ext>
                </a:extLst>
              </p:cNvPr>
              <p:cNvSpPr/>
              <p:nvPr/>
            </p:nvSpPr>
            <p:spPr>
              <a:xfrm>
                <a:off x="2395339" y="1701467"/>
                <a:ext cx="107369" cy="36135"/>
              </a:xfrm>
              <a:custGeom>
                <a:avLst/>
                <a:gdLst/>
                <a:ahLst/>
                <a:cxnLst/>
                <a:rect l="l" t="t" r="r" b="b"/>
                <a:pathLst>
                  <a:path w="119380" h="36830">
                    <a:moveTo>
                      <a:pt x="102616" y="0"/>
                    </a:moveTo>
                    <a:lnTo>
                      <a:pt x="15875" y="0"/>
                    </a:lnTo>
                    <a:lnTo>
                      <a:pt x="19002" y="6848"/>
                    </a:lnTo>
                    <a:lnTo>
                      <a:pt x="17653" y="14589"/>
                    </a:lnTo>
                    <a:lnTo>
                      <a:pt x="11445" y="21734"/>
                    </a:lnTo>
                    <a:lnTo>
                      <a:pt x="0" y="26797"/>
                    </a:lnTo>
                    <a:lnTo>
                      <a:pt x="0" y="36322"/>
                    </a:lnTo>
                    <a:lnTo>
                      <a:pt x="119126" y="36322"/>
                    </a:lnTo>
                    <a:lnTo>
                      <a:pt x="119126" y="26797"/>
                    </a:lnTo>
                    <a:lnTo>
                      <a:pt x="107563" y="21734"/>
                    </a:lnTo>
                    <a:lnTo>
                      <a:pt x="101107" y="14589"/>
                    </a:lnTo>
                    <a:lnTo>
                      <a:pt x="99534" y="6848"/>
                    </a:lnTo>
                    <a:lnTo>
                      <a:pt x="102616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" name="object 78">
                <a:extLst>
                  <a:ext uri="{FF2B5EF4-FFF2-40B4-BE49-F238E27FC236}">
                    <a16:creationId xmlns:a16="http://schemas.microsoft.com/office/drawing/2014/main" id="{BB2779A8-D91D-4D33-B2F8-C0AEB3757179}"/>
                  </a:ext>
                </a:extLst>
              </p:cNvPr>
              <p:cNvSpPr/>
              <p:nvPr/>
            </p:nvSpPr>
            <p:spPr>
              <a:xfrm>
                <a:off x="2361641" y="1523789"/>
                <a:ext cx="38265" cy="75382"/>
              </a:xfrm>
              <a:custGeom>
                <a:avLst/>
                <a:gdLst/>
                <a:ahLst/>
                <a:cxnLst/>
                <a:rect l="l" t="t" r="r" b="b"/>
                <a:pathLst>
                  <a:path w="42544" h="76835">
                    <a:moveTo>
                      <a:pt x="26848" y="49530"/>
                    </a:moveTo>
                    <a:lnTo>
                      <a:pt x="13081" y="49530"/>
                    </a:lnTo>
                    <a:lnTo>
                      <a:pt x="24384" y="76327"/>
                    </a:lnTo>
                    <a:lnTo>
                      <a:pt x="35179" y="71501"/>
                    </a:lnTo>
                    <a:lnTo>
                      <a:pt x="26848" y="49530"/>
                    </a:lnTo>
                    <a:close/>
                  </a:path>
                  <a:path w="42544" h="76835">
                    <a:moveTo>
                      <a:pt x="0" y="0"/>
                    </a:moveTo>
                    <a:lnTo>
                      <a:pt x="0" y="60833"/>
                    </a:lnTo>
                    <a:lnTo>
                      <a:pt x="13081" y="49530"/>
                    </a:lnTo>
                    <a:lnTo>
                      <a:pt x="26848" y="49530"/>
                    </a:lnTo>
                    <a:lnTo>
                      <a:pt x="25019" y="44704"/>
                    </a:lnTo>
                    <a:lnTo>
                      <a:pt x="42291" y="440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" name="object 79">
                <a:extLst>
                  <a:ext uri="{FF2B5EF4-FFF2-40B4-BE49-F238E27FC236}">
                    <a16:creationId xmlns:a16="http://schemas.microsoft.com/office/drawing/2014/main" id="{6FAABEBB-C047-4CED-BC03-1E246692B4F4}"/>
                  </a:ext>
                </a:extLst>
              </p:cNvPr>
              <p:cNvSpPr/>
              <p:nvPr/>
            </p:nvSpPr>
            <p:spPr>
              <a:xfrm>
                <a:off x="6307955" y="1471830"/>
                <a:ext cx="268423" cy="220542"/>
              </a:xfrm>
              <a:custGeom>
                <a:avLst/>
                <a:gdLst/>
                <a:ahLst/>
                <a:cxnLst/>
                <a:rect l="l" t="t" r="r" b="b"/>
                <a:pathLst>
                  <a:path w="298450" h="224789">
                    <a:moveTo>
                      <a:pt x="291338" y="0"/>
                    </a:moveTo>
                    <a:lnTo>
                      <a:pt x="7111" y="0"/>
                    </a:lnTo>
                    <a:lnTo>
                      <a:pt x="0" y="7112"/>
                    </a:lnTo>
                    <a:lnTo>
                      <a:pt x="0" y="217424"/>
                    </a:lnTo>
                    <a:lnTo>
                      <a:pt x="7111" y="224536"/>
                    </a:lnTo>
                    <a:lnTo>
                      <a:pt x="291338" y="224536"/>
                    </a:lnTo>
                    <a:lnTo>
                      <a:pt x="298450" y="217424"/>
                    </a:lnTo>
                    <a:lnTo>
                      <a:pt x="298450" y="215011"/>
                    </a:lnTo>
                    <a:lnTo>
                      <a:pt x="144526" y="215011"/>
                    </a:lnTo>
                    <a:lnTo>
                      <a:pt x="139827" y="211074"/>
                    </a:lnTo>
                    <a:lnTo>
                      <a:pt x="139827" y="200914"/>
                    </a:lnTo>
                    <a:lnTo>
                      <a:pt x="144526" y="196088"/>
                    </a:lnTo>
                    <a:lnTo>
                      <a:pt x="298450" y="196088"/>
                    </a:lnTo>
                    <a:lnTo>
                      <a:pt x="298450" y="187452"/>
                    </a:lnTo>
                    <a:lnTo>
                      <a:pt x="25272" y="187452"/>
                    </a:lnTo>
                    <a:lnTo>
                      <a:pt x="23749" y="185928"/>
                    </a:lnTo>
                    <a:lnTo>
                      <a:pt x="23749" y="25273"/>
                    </a:lnTo>
                    <a:lnTo>
                      <a:pt x="25272" y="23622"/>
                    </a:lnTo>
                    <a:lnTo>
                      <a:pt x="298450" y="23622"/>
                    </a:lnTo>
                    <a:lnTo>
                      <a:pt x="298450" y="7112"/>
                    </a:lnTo>
                    <a:lnTo>
                      <a:pt x="291338" y="0"/>
                    </a:lnTo>
                    <a:close/>
                  </a:path>
                  <a:path w="298450" h="224789">
                    <a:moveTo>
                      <a:pt x="298450" y="196088"/>
                    </a:moveTo>
                    <a:lnTo>
                      <a:pt x="154813" y="196088"/>
                    </a:lnTo>
                    <a:lnTo>
                      <a:pt x="158750" y="200914"/>
                    </a:lnTo>
                    <a:lnTo>
                      <a:pt x="158750" y="211074"/>
                    </a:lnTo>
                    <a:lnTo>
                      <a:pt x="154813" y="215011"/>
                    </a:lnTo>
                    <a:lnTo>
                      <a:pt x="298450" y="215011"/>
                    </a:lnTo>
                    <a:lnTo>
                      <a:pt x="298450" y="196088"/>
                    </a:lnTo>
                    <a:close/>
                  </a:path>
                  <a:path w="298450" h="224789">
                    <a:moveTo>
                      <a:pt x="298450" y="23622"/>
                    </a:moveTo>
                    <a:lnTo>
                      <a:pt x="273939" y="23622"/>
                    </a:lnTo>
                    <a:lnTo>
                      <a:pt x="274701" y="25273"/>
                    </a:lnTo>
                    <a:lnTo>
                      <a:pt x="274701" y="185928"/>
                    </a:lnTo>
                    <a:lnTo>
                      <a:pt x="273939" y="187452"/>
                    </a:lnTo>
                    <a:lnTo>
                      <a:pt x="298450" y="187452"/>
                    </a:lnTo>
                    <a:lnTo>
                      <a:pt x="298450" y="23622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" name="object 80">
                <a:extLst>
                  <a:ext uri="{FF2B5EF4-FFF2-40B4-BE49-F238E27FC236}">
                    <a16:creationId xmlns:a16="http://schemas.microsoft.com/office/drawing/2014/main" id="{4C04D836-3767-4234-88B4-1E408E3DA9A4}"/>
                  </a:ext>
                </a:extLst>
              </p:cNvPr>
              <p:cNvSpPr/>
              <p:nvPr/>
            </p:nvSpPr>
            <p:spPr>
              <a:xfrm>
                <a:off x="6388939" y="1701467"/>
                <a:ext cx="107369" cy="36135"/>
              </a:xfrm>
              <a:custGeom>
                <a:avLst/>
                <a:gdLst/>
                <a:ahLst/>
                <a:cxnLst/>
                <a:rect l="l" t="t" r="r" b="b"/>
                <a:pathLst>
                  <a:path w="119379" h="36830">
                    <a:moveTo>
                      <a:pt x="102489" y="0"/>
                    </a:moveTo>
                    <a:lnTo>
                      <a:pt x="15748" y="0"/>
                    </a:lnTo>
                    <a:lnTo>
                      <a:pt x="18948" y="6848"/>
                    </a:lnTo>
                    <a:lnTo>
                      <a:pt x="17637" y="14589"/>
                    </a:lnTo>
                    <a:lnTo>
                      <a:pt x="11443" y="21734"/>
                    </a:lnTo>
                    <a:lnTo>
                      <a:pt x="0" y="26797"/>
                    </a:lnTo>
                    <a:lnTo>
                      <a:pt x="0" y="36322"/>
                    </a:lnTo>
                    <a:lnTo>
                      <a:pt x="118999" y="36322"/>
                    </a:lnTo>
                    <a:lnTo>
                      <a:pt x="118999" y="26797"/>
                    </a:lnTo>
                    <a:lnTo>
                      <a:pt x="107436" y="21734"/>
                    </a:lnTo>
                    <a:lnTo>
                      <a:pt x="100980" y="14589"/>
                    </a:lnTo>
                    <a:lnTo>
                      <a:pt x="99407" y="6848"/>
                    </a:lnTo>
                    <a:lnTo>
                      <a:pt x="10248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" name="object 81">
                <a:extLst>
                  <a:ext uri="{FF2B5EF4-FFF2-40B4-BE49-F238E27FC236}">
                    <a16:creationId xmlns:a16="http://schemas.microsoft.com/office/drawing/2014/main" id="{F41E7CBB-D5C7-4FF1-A209-A12F3A476B5E}"/>
                  </a:ext>
                </a:extLst>
              </p:cNvPr>
              <p:cNvSpPr/>
              <p:nvPr/>
            </p:nvSpPr>
            <p:spPr>
              <a:xfrm>
                <a:off x="6355130" y="1523789"/>
                <a:ext cx="38265" cy="75382"/>
              </a:xfrm>
              <a:custGeom>
                <a:avLst/>
                <a:gdLst/>
                <a:ahLst/>
                <a:cxnLst/>
                <a:rect l="l" t="t" r="r" b="b"/>
                <a:pathLst>
                  <a:path w="42545" h="76835">
                    <a:moveTo>
                      <a:pt x="26848" y="49530"/>
                    </a:moveTo>
                    <a:lnTo>
                      <a:pt x="13081" y="49530"/>
                    </a:lnTo>
                    <a:lnTo>
                      <a:pt x="24384" y="76327"/>
                    </a:lnTo>
                    <a:lnTo>
                      <a:pt x="35179" y="71501"/>
                    </a:lnTo>
                    <a:lnTo>
                      <a:pt x="26848" y="49530"/>
                    </a:lnTo>
                    <a:close/>
                  </a:path>
                  <a:path w="42545" h="76835">
                    <a:moveTo>
                      <a:pt x="0" y="0"/>
                    </a:moveTo>
                    <a:lnTo>
                      <a:pt x="0" y="60833"/>
                    </a:lnTo>
                    <a:lnTo>
                      <a:pt x="13081" y="49530"/>
                    </a:lnTo>
                    <a:lnTo>
                      <a:pt x="26848" y="49530"/>
                    </a:lnTo>
                    <a:lnTo>
                      <a:pt x="25019" y="44704"/>
                    </a:lnTo>
                    <a:lnTo>
                      <a:pt x="42291" y="440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" name="object 82">
                <a:extLst>
                  <a:ext uri="{FF2B5EF4-FFF2-40B4-BE49-F238E27FC236}">
                    <a16:creationId xmlns:a16="http://schemas.microsoft.com/office/drawing/2014/main" id="{8D7F35F7-843D-43C3-916E-A8B91160461E}"/>
                  </a:ext>
                </a:extLst>
              </p:cNvPr>
              <p:cNvSpPr/>
              <p:nvPr/>
            </p:nvSpPr>
            <p:spPr>
              <a:xfrm>
                <a:off x="6027540" y="1461863"/>
                <a:ext cx="144491" cy="262282"/>
              </a:xfrm>
              <a:custGeom>
                <a:avLst/>
                <a:gdLst/>
                <a:ahLst/>
                <a:cxnLst/>
                <a:rect l="l" t="t" r="r" b="b"/>
                <a:pathLst>
                  <a:path w="160654" h="267335">
                    <a:moveTo>
                      <a:pt x="137159" y="0"/>
                    </a:moveTo>
                    <a:lnTo>
                      <a:pt x="23113" y="0"/>
                    </a:lnTo>
                    <a:lnTo>
                      <a:pt x="13983" y="1857"/>
                    </a:lnTo>
                    <a:lnTo>
                      <a:pt x="6651" y="6953"/>
                    </a:lnTo>
                    <a:lnTo>
                      <a:pt x="1772" y="14573"/>
                    </a:lnTo>
                    <a:lnTo>
                      <a:pt x="0" y="24003"/>
                    </a:lnTo>
                    <a:lnTo>
                      <a:pt x="0" y="243204"/>
                    </a:lnTo>
                    <a:lnTo>
                      <a:pt x="1772" y="252313"/>
                    </a:lnTo>
                    <a:lnTo>
                      <a:pt x="6651" y="259969"/>
                    </a:lnTo>
                    <a:lnTo>
                      <a:pt x="13983" y="265243"/>
                    </a:lnTo>
                    <a:lnTo>
                      <a:pt x="23113" y="267208"/>
                    </a:lnTo>
                    <a:lnTo>
                      <a:pt x="137159" y="267208"/>
                    </a:lnTo>
                    <a:lnTo>
                      <a:pt x="146290" y="265243"/>
                    </a:lnTo>
                    <a:lnTo>
                      <a:pt x="153622" y="259969"/>
                    </a:lnTo>
                    <a:lnTo>
                      <a:pt x="158501" y="252313"/>
                    </a:lnTo>
                    <a:lnTo>
                      <a:pt x="158964" y="249936"/>
                    </a:lnTo>
                    <a:lnTo>
                      <a:pt x="44068" y="249936"/>
                    </a:lnTo>
                    <a:lnTo>
                      <a:pt x="42544" y="248411"/>
                    </a:lnTo>
                    <a:lnTo>
                      <a:pt x="42544" y="228854"/>
                    </a:lnTo>
                    <a:lnTo>
                      <a:pt x="44068" y="228092"/>
                    </a:lnTo>
                    <a:lnTo>
                      <a:pt x="160273" y="228092"/>
                    </a:lnTo>
                    <a:lnTo>
                      <a:pt x="160273" y="211582"/>
                    </a:lnTo>
                    <a:lnTo>
                      <a:pt x="15112" y="211582"/>
                    </a:lnTo>
                    <a:lnTo>
                      <a:pt x="14350" y="210058"/>
                    </a:lnTo>
                    <a:lnTo>
                      <a:pt x="14350" y="23241"/>
                    </a:lnTo>
                    <a:lnTo>
                      <a:pt x="15112" y="21717"/>
                    </a:lnTo>
                    <a:lnTo>
                      <a:pt x="159844" y="21717"/>
                    </a:lnTo>
                    <a:lnTo>
                      <a:pt x="158501" y="14573"/>
                    </a:lnTo>
                    <a:lnTo>
                      <a:pt x="153622" y="6953"/>
                    </a:lnTo>
                    <a:lnTo>
                      <a:pt x="146290" y="1857"/>
                    </a:lnTo>
                    <a:lnTo>
                      <a:pt x="137159" y="0"/>
                    </a:lnTo>
                    <a:close/>
                  </a:path>
                  <a:path w="160654" h="267335">
                    <a:moveTo>
                      <a:pt x="70738" y="228092"/>
                    </a:moveTo>
                    <a:lnTo>
                      <a:pt x="54863" y="228092"/>
                    </a:lnTo>
                    <a:lnTo>
                      <a:pt x="56260" y="228854"/>
                    </a:lnTo>
                    <a:lnTo>
                      <a:pt x="56260" y="248411"/>
                    </a:lnTo>
                    <a:lnTo>
                      <a:pt x="54863" y="249936"/>
                    </a:lnTo>
                    <a:lnTo>
                      <a:pt x="70738" y="249936"/>
                    </a:lnTo>
                    <a:lnTo>
                      <a:pt x="69341" y="248411"/>
                    </a:lnTo>
                    <a:lnTo>
                      <a:pt x="69341" y="228854"/>
                    </a:lnTo>
                    <a:lnTo>
                      <a:pt x="70738" y="228092"/>
                    </a:lnTo>
                    <a:close/>
                  </a:path>
                  <a:path w="160654" h="267335">
                    <a:moveTo>
                      <a:pt x="104647" y="228092"/>
                    </a:moveTo>
                    <a:lnTo>
                      <a:pt x="89534" y="228092"/>
                    </a:lnTo>
                    <a:lnTo>
                      <a:pt x="90296" y="228854"/>
                    </a:lnTo>
                    <a:lnTo>
                      <a:pt x="90296" y="248411"/>
                    </a:lnTo>
                    <a:lnTo>
                      <a:pt x="89534" y="249936"/>
                    </a:lnTo>
                    <a:lnTo>
                      <a:pt x="104647" y="249936"/>
                    </a:lnTo>
                    <a:lnTo>
                      <a:pt x="104012" y="248411"/>
                    </a:lnTo>
                    <a:lnTo>
                      <a:pt x="104012" y="228854"/>
                    </a:lnTo>
                    <a:lnTo>
                      <a:pt x="104647" y="228092"/>
                    </a:lnTo>
                    <a:close/>
                  </a:path>
                  <a:path w="160654" h="267335">
                    <a:moveTo>
                      <a:pt x="160273" y="228092"/>
                    </a:moveTo>
                    <a:lnTo>
                      <a:pt x="116204" y="228092"/>
                    </a:lnTo>
                    <a:lnTo>
                      <a:pt x="117728" y="228854"/>
                    </a:lnTo>
                    <a:lnTo>
                      <a:pt x="117728" y="248411"/>
                    </a:lnTo>
                    <a:lnTo>
                      <a:pt x="116204" y="249936"/>
                    </a:lnTo>
                    <a:lnTo>
                      <a:pt x="158964" y="249936"/>
                    </a:lnTo>
                    <a:lnTo>
                      <a:pt x="160273" y="243204"/>
                    </a:lnTo>
                    <a:lnTo>
                      <a:pt x="160273" y="228092"/>
                    </a:lnTo>
                    <a:close/>
                  </a:path>
                  <a:path w="160654" h="267335">
                    <a:moveTo>
                      <a:pt x="159844" y="21717"/>
                    </a:moveTo>
                    <a:lnTo>
                      <a:pt x="144398" y="21717"/>
                    </a:lnTo>
                    <a:lnTo>
                      <a:pt x="145922" y="23241"/>
                    </a:lnTo>
                    <a:lnTo>
                      <a:pt x="145922" y="210058"/>
                    </a:lnTo>
                    <a:lnTo>
                      <a:pt x="144398" y="211582"/>
                    </a:lnTo>
                    <a:lnTo>
                      <a:pt x="160273" y="211582"/>
                    </a:lnTo>
                    <a:lnTo>
                      <a:pt x="160273" y="24003"/>
                    </a:lnTo>
                    <a:lnTo>
                      <a:pt x="159844" y="21717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" name="object 83">
                <a:extLst>
                  <a:ext uri="{FF2B5EF4-FFF2-40B4-BE49-F238E27FC236}">
                    <a16:creationId xmlns:a16="http://schemas.microsoft.com/office/drawing/2014/main" id="{60F3047A-BAAF-4302-AC0A-AAB59DD62F14}"/>
                  </a:ext>
                </a:extLst>
              </p:cNvPr>
              <p:cNvSpPr/>
              <p:nvPr/>
            </p:nvSpPr>
            <p:spPr>
              <a:xfrm>
                <a:off x="6052783" y="1497872"/>
                <a:ext cx="94233" cy="158242"/>
              </a:xfrm>
              <a:custGeom>
                <a:avLst/>
                <a:gdLst/>
                <a:ahLst/>
                <a:cxnLst/>
                <a:rect l="l" t="t" r="r" b="b"/>
                <a:pathLst>
                  <a:path w="104775" h="161289">
                    <a:moveTo>
                      <a:pt x="104774" y="0"/>
                    </a:moveTo>
                    <a:lnTo>
                      <a:pt x="104139" y="0"/>
                    </a:lnTo>
                    <a:lnTo>
                      <a:pt x="103377" y="762"/>
                    </a:lnTo>
                    <a:lnTo>
                      <a:pt x="634" y="158369"/>
                    </a:lnTo>
                    <a:lnTo>
                      <a:pt x="0" y="159766"/>
                    </a:lnTo>
                    <a:lnTo>
                      <a:pt x="0" y="161290"/>
                    </a:lnTo>
                    <a:lnTo>
                      <a:pt x="103377" y="161290"/>
                    </a:lnTo>
                    <a:lnTo>
                      <a:pt x="104774" y="159766"/>
                    </a:lnTo>
                    <a:lnTo>
                      <a:pt x="104774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" name="object 84">
                <a:extLst>
                  <a:ext uri="{FF2B5EF4-FFF2-40B4-BE49-F238E27FC236}">
                    <a16:creationId xmlns:a16="http://schemas.microsoft.com/office/drawing/2014/main" id="{503A70A7-5220-4BBD-A103-AAD95A79368C}"/>
                  </a:ext>
                </a:extLst>
              </p:cNvPr>
              <p:cNvSpPr/>
              <p:nvPr/>
            </p:nvSpPr>
            <p:spPr>
              <a:xfrm>
                <a:off x="6627892" y="1437203"/>
                <a:ext cx="320965" cy="300647"/>
              </a:xfrm>
              <a:prstGeom prst="rect">
                <a:avLst/>
              </a:prstGeom>
              <a:blipFill>
                <a:blip r:embed="rId5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" name="object 85">
                <a:extLst>
                  <a:ext uri="{FF2B5EF4-FFF2-40B4-BE49-F238E27FC236}">
                    <a16:creationId xmlns:a16="http://schemas.microsoft.com/office/drawing/2014/main" id="{0F0401D8-2FAA-4711-8DA3-5008039D1C56}"/>
                  </a:ext>
                </a:extLst>
              </p:cNvPr>
              <p:cNvSpPr/>
              <p:nvPr/>
            </p:nvSpPr>
            <p:spPr>
              <a:xfrm>
                <a:off x="1317891" y="1439147"/>
                <a:ext cx="473793" cy="290354"/>
              </a:xfrm>
              <a:prstGeom prst="rect">
                <a:avLst/>
              </a:prstGeom>
              <a:blipFill>
                <a:blip r:embed="rId6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" name="object 87">
                <a:extLst>
                  <a:ext uri="{FF2B5EF4-FFF2-40B4-BE49-F238E27FC236}">
                    <a16:creationId xmlns:a16="http://schemas.microsoft.com/office/drawing/2014/main" id="{4E2E07CD-2C59-4CCC-8557-16D34AB7604B}"/>
                  </a:ext>
                </a:extLst>
              </p:cNvPr>
              <p:cNvSpPr/>
              <p:nvPr/>
            </p:nvSpPr>
            <p:spPr>
              <a:xfrm>
                <a:off x="1602167" y="1583585"/>
                <a:ext cx="69104" cy="110270"/>
              </a:xfrm>
              <a:custGeom>
                <a:avLst/>
                <a:gdLst/>
                <a:ahLst/>
                <a:cxnLst/>
                <a:rect l="l" t="t" r="r" b="b"/>
                <a:pathLst>
                  <a:path w="76834" h="112394">
                    <a:moveTo>
                      <a:pt x="0" y="112280"/>
                    </a:moveTo>
                    <a:lnTo>
                      <a:pt x="76441" y="112280"/>
                    </a:lnTo>
                    <a:lnTo>
                      <a:pt x="76441" y="0"/>
                    </a:lnTo>
                    <a:lnTo>
                      <a:pt x="0" y="0"/>
                    </a:lnTo>
                    <a:lnTo>
                      <a:pt x="0" y="11228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" name="object 88">
                <a:extLst>
                  <a:ext uri="{FF2B5EF4-FFF2-40B4-BE49-F238E27FC236}">
                    <a16:creationId xmlns:a16="http://schemas.microsoft.com/office/drawing/2014/main" id="{7A1BB82B-93B0-410F-8104-E245BC106A2C}"/>
                  </a:ext>
                </a:extLst>
              </p:cNvPr>
              <p:cNvSpPr/>
              <p:nvPr/>
            </p:nvSpPr>
            <p:spPr>
              <a:xfrm>
                <a:off x="1608210" y="1595808"/>
                <a:ext cx="51971" cy="91581"/>
              </a:xfrm>
              <a:custGeom>
                <a:avLst/>
                <a:gdLst/>
                <a:ahLst/>
                <a:cxnLst/>
                <a:rect l="l" t="t" r="r" b="b"/>
                <a:pathLst>
                  <a:path w="57784" h="93344">
                    <a:moveTo>
                      <a:pt x="32058" y="40260"/>
                    </a:moveTo>
                    <a:lnTo>
                      <a:pt x="18258" y="48124"/>
                    </a:lnTo>
                    <a:lnTo>
                      <a:pt x="43751" y="92837"/>
                    </a:lnTo>
                    <a:lnTo>
                      <a:pt x="57556" y="84963"/>
                    </a:lnTo>
                    <a:lnTo>
                      <a:pt x="32058" y="40260"/>
                    </a:lnTo>
                    <a:close/>
                  </a:path>
                  <a:path w="57784" h="93344">
                    <a:moveTo>
                      <a:pt x="0" y="0"/>
                    </a:moveTo>
                    <a:lnTo>
                      <a:pt x="3086" y="56769"/>
                    </a:lnTo>
                    <a:lnTo>
                      <a:pt x="18258" y="48124"/>
                    </a:lnTo>
                    <a:lnTo>
                      <a:pt x="11963" y="37084"/>
                    </a:lnTo>
                    <a:lnTo>
                      <a:pt x="25755" y="29210"/>
                    </a:lnTo>
                    <a:lnTo>
                      <a:pt x="43615" y="29210"/>
                    </a:lnTo>
                    <a:lnTo>
                      <a:pt x="0" y="0"/>
                    </a:lnTo>
                    <a:close/>
                  </a:path>
                  <a:path w="57784" h="93344">
                    <a:moveTo>
                      <a:pt x="25755" y="29210"/>
                    </a:moveTo>
                    <a:lnTo>
                      <a:pt x="11963" y="37084"/>
                    </a:lnTo>
                    <a:lnTo>
                      <a:pt x="18258" y="48124"/>
                    </a:lnTo>
                    <a:lnTo>
                      <a:pt x="32058" y="40260"/>
                    </a:lnTo>
                    <a:lnTo>
                      <a:pt x="25755" y="29210"/>
                    </a:lnTo>
                    <a:close/>
                  </a:path>
                  <a:path w="57784" h="93344">
                    <a:moveTo>
                      <a:pt x="43615" y="29210"/>
                    </a:moveTo>
                    <a:lnTo>
                      <a:pt x="25755" y="29210"/>
                    </a:lnTo>
                    <a:lnTo>
                      <a:pt x="32058" y="40260"/>
                    </a:lnTo>
                    <a:lnTo>
                      <a:pt x="47218" y="31623"/>
                    </a:lnTo>
                    <a:lnTo>
                      <a:pt x="43615" y="2921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36BB5651-E5A2-48D8-BA89-B48A1E106657}"/>
                  </a:ext>
                </a:extLst>
              </p:cNvPr>
              <p:cNvSpPr txBox="1"/>
              <p:nvPr/>
            </p:nvSpPr>
            <p:spPr>
              <a:xfrm>
                <a:off x="1512718" y="2533202"/>
                <a:ext cx="693138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eb Portal</a:t>
                </a: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B769F0E2-E80E-45BA-88E1-5B003B63DE30}"/>
                  </a:ext>
                </a:extLst>
              </p:cNvPr>
              <p:cNvSpPr txBox="1"/>
              <p:nvPr/>
            </p:nvSpPr>
            <p:spPr>
              <a:xfrm>
                <a:off x="6029125" y="2514335"/>
                <a:ext cx="49872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hatbot</a:t>
                </a:r>
              </a:p>
            </p:txBody>
          </p:sp>
          <p:grpSp>
            <p:nvGrpSpPr>
              <p:cNvPr id="344" name="Group 343">
                <a:extLst>
                  <a:ext uri="{FF2B5EF4-FFF2-40B4-BE49-F238E27FC236}">
                    <a16:creationId xmlns:a16="http://schemas.microsoft.com/office/drawing/2014/main" id="{F5634CFE-7D31-4326-93C7-E81130560A67}"/>
                  </a:ext>
                </a:extLst>
              </p:cNvPr>
              <p:cNvGrpSpPr/>
              <p:nvPr/>
            </p:nvGrpSpPr>
            <p:grpSpPr>
              <a:xfrm>
                <a:off x="4452351" y="1940024"/>
                <a:ext cx="907171" cy="758977"/>
                <a:chOff x="4176323" y="1790943"/>
                <a:chExt cx="907171" cy="758977"/>
              </a:xfrm>
            </p:grpSpPr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FF591B19-66D8-4974-9149-87D371D1B151}"/>
                    </a:ext>
                  </a:extLst>
                </p:cNvPr>
                <p:cNvSpPr txBox="1"/>
                <p:nvPr/>
              </p:nvSpPr>
              <p:spPr>
                <a:xfrm>
                  <a:off x="4176323" y="2365254"/>
                  <a:ext cx="907171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sz="1200" dirty="0">
                      <a:solidFill>
                        <a:srgbClr val="2D2D2A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Customer care</a:t>
                  </a:r>
                </a:p>
              </p:txBody>
            </p:sp>
            <p:sp>
              <p:nvSpPr>
                <p:cNvPr id="93" name="Freeform 158">
                  <a:extLst>
                    <a:ext uri="{FF2B5EF4-FFF2-40B4-BE49-F238E27FC236}">
                      <a16:creationId xmlns:a16="http://schemas.microsoft.com/office/drawing/2014/main" id="{B126736E-934B-4169-B685-8070B6FA4F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7229" y="1790943"/>
                  <a:ext cx="495590" cy="487846"/>
                </a:xfrm>
                <a:custGeom>
                  <a:avLst/>
                  <a:gdLst>
                    <a:gd name="T0" fmla="*/ 256 w 256"/>
                    <a:gd name="T1" fmla="*/ 128 h 252"/>
                    <a:gd name="T2" fmla="*/ 254 w 256"/>
                    <a:gd name="T3" fmla="*/ 102 h 252"/>
                    <a:gd name="T4" fmla="*/ 246 w 256"/>
                    <a:gd name="T5" fmla="*/ 78 h 252"/>
                    <a:gd name="T6" fmla="*/ 234 w 256"/>
                    <a:gd name="T7" fmla="*/ 56 h 252"/>
                    <a:gd name="T8" fmla="*/ 200 w 256"/>
                    <a:gd name="T9" fmla="*/ 22 h 252"/>
                    <a:gd name="T10" fmla="*/ 178 w 256"/>
                    <a:gd name="T11" fmla="*/ 10 h 252"/>
                    <a:gd name="T12" fmla="*/ 154 w 256"/>
                    <a:gd name="T13" fmla="*/ 2 h 252"/>
                    <a:gd name="T14" fmla="*/ 128 w 256"/>
                    <a:gd name="T15" fmla="*/ 0 h 252"/>
                    <a:gd name="T16" fmla="*/ 116 w 256"/>
                    <a:gd name="T17" fmla="*/ 0 h 252"/>
                    <a:gd name="T18" fmla="*/ 90 w 256"/>
                    <a:gd name="T19" fmla="*/ 6 h 252"/>
                    <a:gd name="T20" fmla="*/ 68 w 256"/>
                    <a:gd name="T21" fmla="*/ 16 h 252"/>
                    <a:gd name="T22" fmla="*/ 38 w 256"/>
                    <a:gd name="T23" fmla="*/ 38 h 252"/>
                    <a:gd name="T24" fmla="*/ 16 w 256"/>
                    <a:gd name="T25" fmla="*/ 66 h 252"/>
                    <a:gd name="T26" fmla="*/ 6 w 256"/>
                    <a:gd name="T27" fmla="*/ 90 h 252"/>
                    <a:gd name="T28" fmla="*/ 0 w 256"/>
                    <a:gd name="T29" fmla="*/ 114 h 252"/>
                    <a:gd name="T30" fmla="*/ 0 w 256"/>
                    <a:gd name="T31" fmla="*/ 128 h 252"/>
                    <a:gd name="T32" fmla="*/ 20 w 256"/>
                    <a:gd name="T33" fmla="*/ 142 h 252"/>
                    <a:gd name="T34" fmla="*/ 18 w 256"/>
                    <a:gd name="T35" fmla="*/ 128 h 252"/>
                    <a:gd name="T36" fmla="*/ 22 w 256"/>
                    <a:gd name="T37" fmla="*/ 106 h 252"/>
                    <a:gd name="T38" fmla="*/ 38 w 256"/>
                    <a:gd name="T39" fmla="*/ 66 h 252"/>
                    <a:gd name="T40" fmla="*/ 68 w 256"/>
                    <a:gd name="T41" fmla="*/ 38 h 252"/>
                    <a:gd name="T42" fmla="*/ 106 w 256"/>
                    <a:gd name="T43" fmla="*/ 20 h 252"/>
                    <a:gd name="T44" fmla="*/ 128 w 256"/>
                    <a:gd name="T45" fmla="*/ 18 h 252"/>
                    <a:gd name="T46" fmla="*/ 172 w 256"/>
                    <a:gd name="T47" fmla="*/ 28 h 252"/>
                    <a:gd name="T48" fmla="*/ 206 w 256"/>
                    <a:gd name="T49" fmla="*/ 50 h 252"/>
                    <a:gd name="T50" fmla="*/ 230 w 256"/>
                    <a:gd name="T51" fmla="*/ 86 h 252"/>
                    <a:gd name="T52" fmla="*/ 238 w 256"/>
                    <a:gd name="T53" fmla="*/ 128 h 252"/>
                    <a:gd name="T54" fmla="*/ 236 w 256"/>
                    <a:gd name="T55" fmla="*/ 146 h 252"/>
                    <a:gd name="T56" fmla="*/ 226 w 256"/>
                    <a:gd name="T57" fmla="*/ 180 h 252"/>
                    <a:gd name="T58" fmla="*/ 204 w 256"/>
                    <a:gd name="T59" fmla="*/ 208 h 252"/>
                    <a:gd name="T60" fmla="*/ 176 w 256"/>
                    <a:gd name="T61" fmla="*/ 226 h 252"/>
                    <a:gd name="T62" fmla="*/ 160 w 256"/>
                    <a:gd name="T63" fmla="*/ 252 h 252"/>
                    <a:gd name="T64" fmla="*/ 180 w 256"/>
                    <a:gd name="T65" fmla="*/ 246 h 252"/>
                    <a:gd name="T66" fmla="*/ 214 w 256"/>
                    <a:gd name="T67" fmla="*/ 224 h 252"/>
                    <a:gd name="T68" fmla="*/ 240 w 256"/>
                    <a:gd name="T69" fmla="*/ 190 h 252"/>
                    <a:gd name="T70" fmla="*/ 254 w 256"/>
                    <a:gd name="T71" fmla="*/ 150 h 252"/>
                    <a:gd name="T72" fmla="*/ 256 w 256"/>
                    <a:gd name="T73" fmla="*/ 128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56" h="252">
                      <a:moveTo>
                        <a:pt x="256" y="128"/>
                      </a:moveTo>
                      <a:lnTo>
                        <a:pt x="256" y="128"/>
                      </a:lnTo>
                      <a:lnTo>
                        <a:pt x="256" y="114"/>
                      </a:lnTo>
                      <a:lnTo>
                        <a:pt x="254" y="102"/>
                      </a:lnTo>
                      <a:lnTo>
                        <a:pt x="252" y="90"/>
                      </a:lnTo>
                      <a:lnTo>
                        <a:pt x="246" y="78"/>
                      </a:lnTo>
                      <a:lnTo>
                        <a:pt x="242" y="66"/>
                      </a:lnTo>
                      <a:lnTo>
                        <a:pt x="234" y="56"/>
                      </a:lnTo>
                      <a:lnTo>
                        <a:pt x="220" y="38"/>
                      </a:lnTo>
                      <a:lnTo>
                        <a:pt x="200" y="22"/>
                      </a:lnTo>
                      <a:lnTo>
                        <a:pt x="190" y="16"/>
                      </a:lnTo>
                      <a:lnTo>
                        <a:pt x="178" y="10"/>
                      </a:lnTo>
                      <a:lnTo>
                        <a:pt x="166" y="6"/>
                      </a:lnTo>
                      <a:lnTo>
                        <a:pt x="154" y="2"/>
                      </a:lnTo>
                      <a:lnTo>
                        <a:pt x="142" y="0"/>
                      </a:lnTo>
                      <a:lnTo>
                        <a:pt x="128" y="0"/>
                      </a:lnTo>
                      <a:lnTo>
                        <a:pt x="128" y="0"/>
                      </a:lnTo>
                      <a:lnTo>
                        <a:pt x="116" y="0"/>
                      </a:lnTo>
                      <a:lnTo>
                        <a:pt x="102" y="2"/>
                      </a:lnTo>
                      <a:lnTo>
                        <a:pt x="90" y="6"/>
                      </a:lnTo>
                      <a:lnTo>
                        <a:pt x="78" y="10"/>
                      </a:lnTo>
                      <a:lnTo>
                        <a:pt x="68" y="16"/>
                      </a:lnTo>
                      <a:lnTo>
                        <a:pt x="56" y="22"/>
                      </a:lnTo>
                      <a:lnTo>
                        <a:pt x="38" y="38"/>
                      </a:lnTo>
                      <a:lnTo>
                        <a:pt x="22" y="56"/>
                      </a:lnTo>
                      <a:lnTo>
                        <a:pt x="16" y="66"/>
                      </a:lnTo>
                      <a:lnTo>
                        <a:pt x="10" y="78"/>
                      </a:lnTo>
                      <a:lnTo>
                        <a:pt x="6" y="90"/>
                      </a:lnTo>
                      <a:lnTo>
                        <a:pt x="2" y="102"/>
                      </a:lnTo>
                      <a:lnTo>
                        <a:pt x="0" y="114"/>
                      </a:lnTo>
                      <a:lnTo>
                        <a:pt x="0" y="128"/>
                      </a:lnTo>
                      <a:lnTo>
                        <a:pt x="0" y="128"/>
                      </a:lnTo>
                      <a:lnTo>
                        <a:pt x="0" y="142"/>
                      </a:lnTo>
                      <a:lnTo>
                        <a:pt x="20" y="142"/>
                      </a:lnTo>
                      <a:lnTo>
                        <a:pt x="20" y="142"/>
                      </a:lnTo>
                      <a:lnTo>
                        <a:pt x="18" y="128"/>
                      </a:lnTo>
                      <a:lnTo>
                        <a:pt x="18" y="128"/>
                      </a:lnTo>
                      <a:lnTo>
                        <a:pt x="22" y="106"/>
                      </a:lnTo>
                      <a:lnTo>
                        <a:pt x="28" y="86"/>
                      </a:lnTo>
                      <a:lnTo>
                        <a:pt x="38" y="66"/>
                      </a:lnTo>
                      <a:lnTo>
                        <a:pt x="52" y="50"/>
                      </a:lnTo>
                      <a:lnTo>
                        <a:pt x="68" y="38"/>
                      </a:lnTo>
                      <a:lnTo>
                        <a:pt x="86" y="28"/>
                      </a:lnTo>
                      <a:lnTo>
                        <a:pt x="106" y="20"/>
                      </a:lnTo>
                      <a:lnTo>
                        <a:pt x="128" y="18"/>
                      </a:lnTo>
                      <a:lnTo>
                        <a:pt x="128" y="18"/>
                      </a:lnTo>
                      <a:lnTo>
                        <a:pt x="150" y="20"/>
                      </a:lnTo>
                      <a:lnTo>
                        <a:pt x="172" y="28"/>
                      </a:lnTo>
                      <a:lnTo>
                        <a:pt x="190" y="38"/>
                      </a:lnTo>
                      <a:lnTo>
                        <a:pt x="206" y="50"/>
                      </a:lnTo>
                      <a:lnTo>
                        <a:pt x="220" y="66"/>
                      </a:lnTo>
                      <a:lnTo>
                        <a:pt x="230" y="86"/>
                      </a:lnTo>
                      <a:lnTo>
                        <a:pt x="236" y="106"/>
                      </a:lnTo>
                      <a:lnTo>
                        <a:pt x="238" y="128"/>
                      </a:lnTo>
                      <a:lnTo>
                        <a:pt x="238" y="128"/>
                      </a:lnTo>
                      <a:lnTo>
                        <a:pt x="236" y="146"/>
                      </a:lnTo>
                      <a:lnTo>
                        <a:pt x="232" y="164"/>
                      </a:lnTo>
                      <a:lnTo>
                        <a:pt x="226" y="180"/>
                      </a:lnTo>
                      <a:lnTo>
                        <a:pt x="216" y="194"/>
                      </a:lnTo>
                      <a:lnTo>
                        <a:pt x="204" y="208"/>
                      </a:lnTo>
                      <a:lnTo>
                        <a:pt x="190" y="218"/>
                      </a:lnTo>
                      <a:lnTo>
                        <a:pt x="176" y="226"/>
                      </a:lnTo>
                      <a:lnTo>
                        <a:pt x="160" y="234"/>
                      </a:lnTo>
                      <a:lnTo>
                        <a:pt x="160" y="252"/>
                      </a:lnTo>
                      <a:lnTo>
                        <a:pt x="160" y="252"/>
                      </a:lnTo>
                      <a:lnTo>
                        <a:pt x="180" y="246"/>
                      </a:lnTo>
                      <a:lnTo>
                        <a:pt x="198" y="236"/>
                      </a:lnTo>
                      <a:lnTo>
                        <a:pt x="214" y="224"/>
                      </a:lnTo>
                      <a:lnTo>
                        <a:pt x="230" y="208"/>
                      </a:lnTo>
                      <a:lnTo>
                        <a:pt x="240" y="190"/>
                      </a:lnTo>
                      <a:lnTo>
                        <a:pt x="250" y="170"/>
                      </a:lnTo>
                      <a:lnTo>
                        <a:pt x="254" y="150"/>
                      </a:lnTo>
                      <a:lnTo>
                        <a:pt x="256" y="128"/>
                      </a:lnTo>
                      <a:lnTo>
                        <a:pt x="256" y="128"/>
                      </a:lnTo>
                      <a:close/>
                    </a:path>
                  </a:pathLst>
                </a:custGeom>
                <a:solidFill>
                  <a:schemeClr val="accent3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4" name="Freeform 159">
                  <a:extLst>
                    <a:ext uri="{FF2B5EF4-FFF2-40B4-BE49-F238E27FC236}">
                      <a16:creationId xmlns:a16="http://schemas.microsoft.com/office/drawing/2014/main" id="{7177E727-A220-4F29-81B9-4FA204DD45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62383" y="1953558"/>
                  <a:ext cx="100667" cy="166487"/>
                </a:xfrm>
                <a:custGeom>
                  <a:avLst/>
                  <a:gdLst>
                    <a:gd name="T0" fmla="*/ 52 w 52"/>
                    <a:gd name="T1" fmla="*/ 60 h 86"/>
                    <a:gd name="T2" fmla="*/ 52 w 52"/>
                    <a:gd name="T3" fmla="*/ 60 h 86"/>
                    <a:gd name="T4" fmla="*/ 50 w 52"/>
                    <a:gd name="T5" fmla="*/ 70 h 86"/>
                    <a:gd name="T6" fmla="*/ 44 w 52"/>
                    <a:gd name="T7" fmla="*/ 78 h 86"/>
                    <a:gd name="T8" fmla="*/ 36 w 52"/>
                    <a:gd name="T9" fmla="*/ 84 h 86"/>
                    <a:gd name="T10" fmla="*/ 26 w 52"/>
                    <a:gd name="T11" fmla="*/ 86 h 86"/>
                    <a:gd name="T12" fmla="*/ 26 w 52"/>
                    <a:gd name="T13" fmla="*/ 86 h 86"/>
                    <a:gd name="T14" fmla="*/ 26 w 52"/>
                    <a:gd name="T15" fmla="*/ 86 h 86"/>
                    <a:gd name="T16" fmla="*/ 16 w 52"/>
                    <a:gd name="T17" fmla="*/ 84 h 86"/>
                    <a:gd name="T18" fmla="*/ 8 w 52"/>
                    <a:gd name="T19" fmla="*/ 78 h 86"/>
                    <a:gd name="T20" fmla="*/ 2 w 52"/>
                    <a:gd name="T21" fmla="*/ 70 h 86"/>
                    <a:gd name="T22" fmla="*/ 0 w 52"/>
                    <a:gd name="T23" fmla="*/ 60 h 86"/>
                    <a:gd name="T24" fmla="*/ 0 w 52"/>
                    <a:gd name="T25" fmla="*/ 26 h 86"/>
                    <a:gd name="T26" fmla="*/ 0 w 52"/>
                    <a:gd name="T27" fmla="*/ 26 h 86"/>
                    <a:gd name="T28" fmla="*/ 2 w 52"/>
                    <a:gd name="T29" fmla="*/ 16 h 86"/>
                    <a:gd name="T30" fmla="*/ 8 w 52"/>
                    <a:gd name="T31" fmla="*/ 8 h 86"/>
                    <a:gd name="T32" fmla="*/ 16 w 52"/>
                    <a:gd name="T33" fmla="*/ 2 h 86"/>
                    <a:gd name="T34" fmla="*/ 26 w 52"/>
                    <a:gd name="T35" fmla="*/ 0 h 86"/>
                    <a:gd name="T36" fmla="*/ 26 w 52"/>
                    <a:gd name="T37" fmla="*/ 0 h 86"/>
                    <a:gd name="T38" fmla="*/ 26 w 52"/>
                    <a:gd name="T39" fmla="*/ 0 h 86"/>
                    <a:gd name="T40" fmla="*/ 36 w 52"/>
                    <a:gd name="T41" fmla="*/ 2 h 86"/>
                    <a:gd name="T42" fmla="*/ 44 w 52"/>
                    <a:gd name="T43" fmla="*/ 8 h 86"/>
                    <a:gd name="T44" fmla="*/ 50 w 52"/>
                    <a:gd name="T45" fmla="*/ 16 h 86"/>
                    <a:gd name="T46" fmla="*/ 52 w 52"/>
                    <a:gd name="T47" fmla="*/ 26 h 86"/>
                    <a:gd name="T48" fmla="*/ 52 w 52"/>
                    <a:gd name="T49" fmla="*/ 6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2" h="86">
                      <a:moveTo>
                        <a:pt x="52" y="60"/>
                      </a:moveTo>
                      <a:lnTo>
                        <a:pt x="52" y="60"/>
                      </a:lnTo>
                      <a:lnTo>
                        <a:pt x="50" y="70"/>
                      </a:lnTo>
                      <a:lnTo>
                        <a:pt x="44" y="78"/>
                      </a:lnTo>
                      <a:lnTo>
                        <a:pt x="36" y="84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16" y="84"/>
                      </a:lnTo>
                      <a:lnTo>
                        <a:pt x="8" y="78"/>
                      </a:lnTo>
                      <a:lnTo>
                        <a:pt x="2" y="70"/>
                      </a:lnTo>
                      <a:lnTo>
                        <a:pt x="0" y="6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2" y="16"/>
                      </a:lnTo>
                      <a:lnTo>
                        <a:pt x="8" y="8"/>
                      </a:lnTo>
                      <a:lnTo>
                        <a:pt x="1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6" y="2"/>
                      </a:lnTo>
                      <a:lnTo>
                        <a:pt x="44" y="8"/>
                      </a:lnTo>
                      <a:lnTo>
                        <a:pt x="50" y="16"/>
                      </a:lnTo>
                      <a:lnTo>
                        <a:pt x="52" y="26"/>
                      </a:lnTo>
                      <a:lnTo>
                        <a:pt x="52" y="60"/>
                      </a:lnTo>
                      <a:close/>
                    </a:path>
                  </a:pathLst>
                </a:custGeom>
                <a:solidFill>
                  <a:srgbClr val="353535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5" name="Freeform 160">
                  <a:extLst>
                    <a:ext uri="{FF2B5EF4-FFF2-40B4-BE49-F238E27FC236}">
                      <a16:creationId xmlns:a16="http://schemas.microsoft.com/office/drawing/2014/main" id="{EBDFB6C7-C07C-4655-BB22-A1F879ED22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25665" y="2228455"/>
                  <a:ext cx="104538" cy="61949"/>
                </a:xfrm>
                <a:custGeom>
                  <a:avLst/>
                  <a:gdLst>
                    <a:gd name="T0" fmla="*/ 38 w 54"/>
                    <a:gd name="T1" fmla="*/ 0 h 32"/>
                    <a:gd name="T2" fmla="*/ 38 w 54"/>
                    <a:gd name="T3" fmla="*/ 0 h 32"/>
                    <a:gd name="T4" fmla="*/ 44 w 54"/>
                    <a:gd name="T5" fmla="*/ 2 h 32"/>
                    <a:gd name="T6" fmla="*/ 48 w 54"/>
                    <a:gd name="T7" fmla="*/ 6 h 32"/>
                    <a:gd name="T8" fmla="*/ 52 w 54"/>
                    <a:gd name="T9" fmla="*/ 10 h 32"/>
                    <a:gd name="T10" fmla="*/ 54 w 54"/>
                    <a:gd name="T11" fmla="*/ 16 h 32"/>
                    <a:gd name="T12" fmla="*/ 54 w 54"/>
                    <a:gd name="T13" fmla="*/ 16 h 32"/>
                    <a:gd name="T14" fmla="*/ 54 w 54"/>
                    <a:gd name="T15" fmla="*/ 16 h 32"/>
                    <a:gd name="T16" fmla="*/ 52 w 54"/>
                    <a:gd name="T17" fmla="*/ 24 h 32"/>
                    <a:gd name="T18" fmla="*/ 48 w 54"/>
                    <a:gd name="T19" fmla="*/ 28 h 32"/>
                    <a:gd name="T20" fmla="*/ 44 w 54"/>
                    <a:gd name="T21" fmla="*/ 32 h 32"/>
                    <a:gd name="T22" fmla="*/ 38 w 54"/>
                    <a:gd name="T23" fmla="*/ 32 h 32"/>
                    <a:gd name="T24" fmla="*/ 16 w 54"/>
                    <a:gd name="T25" fmla="*/ 32 h 32"/>
                    <a:gd name="T26" fmla="*/ 16 w 54"/>
                    <a:gd name="T27" fmla="*/ 32 h 32"/>
                    <a:gd name="T28" fmla="*/ 10 w 54"/>
                    <a:gd name="T29" fmla="*/ 32 h 32"/>
                    <a:gd name="T30" fmla="*/ 6 w 54"/>
                    <a:gd name="T31" fmla="*/ 28 h 32"/>
                    <a:gd name="T32" fmla="*/ 2 w 54"/>
                    <a:gd name="T33" fmla="*/ 24 h 32"/>
                    <a:gd name="T34" fmla="*/ 0 w 54"/>
                    <a:gd name="T35" fmla="*/ 16 h 32"/>
                    <a:gd name="T36" fmla="*/ 0 w 54"/>
                    <a:gd name="T37" fmla="*/ 16 h 32"/>
                    <a:gd name="T38" fmla="*/ 0 w 54"/>
                    <a:gd name="T39" fmla="*/ 16 h 32"/>
                    <a:gd name="T40" fmla="*/ 2 w 54"/>
                    <a:gd name="T41" fmla="*/ 10 h 32"/>
                    <a:gd name="T42" fmla="*/ 6 w 54"/>
                    <a:gd name="T43" fmla="*/ 6 h 32"/>
                    <a:gd name="T44" fmla="*/ 10 w 54"/>
                    <a:gd name="T45" fmla="*/ 2 h 32"/>
                    <a:gd name="T46" fmla="*/ 16 w 54"/>
                    <a:gd name="T47" fmla="*/ 0 h 32"/>
                    <a:gd name="T48" fmla="*/ 38 w 54"/>
                    <a:gd name="T49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4" h="32">
                      <a:moveTo>
                        <a:pt x="38" y="0"/>
                      </a:moveTo>
                      <a:lnTo>
                        <a:pt x="38" y="0"/>
                      </a:lnTo>
                      <a:lnTo>
                        <a:pt x="44" y="2"/>
                      </a:lnTo>
                      <a:lnTo>
                        <a:pt x="48" y="6"/>
                      </a:lnTo>
                      <a:lnTo>
                        <a:pt x="52" y="10"/>
                      </a:lnTo>
                      <a:lnTo>
                        <a:pt x="54" y="16"/>
                      </a:lnTo>
                      <a:lnTo>
                        <a:pt x="54" y="16"/>
                      </a:lnTo>
                      <a:lnTo>
                        <a:pt x="54" y="16"/>
                      </a:lnTo>
                      <a:lnTo>
                        <a:pt x="52" y="24"/>
                      </a:lnTo>
                      <a:lnTo>
                        <a:pt x="48" y="28"/>
                      </a:lnTo>
                      <a:lnTo>
                        <a:pt x="44" y="32"/>
                      </a:lnTo>
                      <a:lnTo>
                        <a:pt x="38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0" y="32"/>
                      </a:lnTo>
                      <a:lnTo>
                        <a:pt x="6" y="28"/>
                      </a:lnTo>
                      <a:lnTo>
                        <a:pt x="2" y="24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2" y="10"/>
                      </a:lnTo>
                      <a:lnTo>
                        <a:pt x="6" y="6"/>
                      </a:lnTo>
                      <a:lnTo>
                        <a:pt x="10" y="2"/>
                      </a:lnTo>
                      <a:lnTo>
                        <a:pt x="16" y="0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353535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6" name="Freeform 161">
                  <a:extLst>
                    <a:ext uri="{FF2B5EF4-FFF2-40B4-BE49-F238E27FC236}">
                      <a16:creationId xmlns:a16="http://schemas.microsoft.com/office/drawing/2014/main" id="{EC90CE69-99B8-409D-8525-E512F6FD27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3126" y="1953558"/>
                  <a:ext cx="100667" cy="166487"/>
                </a:xfrm>
                <a:custGeom>
                  <a:avLst/>
                  <a:gdLst>
                    <a:gd name="T0" fmla="*/ 52 w 52"/>
                    <a:gd name="T1" fmla="*/ 60 h 86"/>
                    <a:gd name="T2" fmla="*/ 52 w 52"/>
                    <a:gd name="T3" fmla="*/ 60 h 86"/>
                    <a:gd name="T4" fmla="*/ 50 w 52"/>
                    <a:gd name="T5" fmla="*/ 70 h 86"/>
                    <a:gd name="T6" fmla="*/ 44 w 52"/>
                    <a:gd name="T7" fmla="*/ 78 h 86"/>
                    <a:gd name="T8" fmla="*/ 36 w 52"/>
                    <a:gd name="T9" fmla="*/ 84 h 86"/>
                    <a:gd name="T10" fmla="*/ 26 w 52"/>
                    <a:gd name="T11" fmla="*/ 86 h 86"/>
                    <a:gd name="T12" fmla="*/ 26 w 52"/>
                    <a:gd name="T13" fmla="*/ 86 h 86"/>
                    <a:gd name="T14" fmla="*/ 26 w 52"/>
                    <a:gd name="T15" fmla="*/ 86 h 86"/>
                    <a:gd name="T16" fmla="*/ 16 w 52"/>
                    <a:gd name="T17" fmla="*/ 84 h 86"/>
                    <a:gd name="T18" fmla="*/ 8 w 52"/>
                    <a:gd name="T19" fmla="*/ 78 h 86"/>
                    <a:gd name="T20" fmla="*/ 2 w 52"/>
                    <a:gd name="T21" fmla="*/ 70 h 86"/>
                    <a:gd name="T22" fmla="*/ 0 w 52"/>
                    <a:gd name="T23" fmla="*/ 60 h 86"/>
                    <a:gd name="T24" fmla="*/ 0 w 52"/>
                    <a:gd name="T25" fmla="*/ 26 h 86"/>
                    <a:gd name="T26" fmla="*/ 0 w 52"/>
                    <a:gd name="T27" fmla="*/ 26 h 86"/>
                    <a:gd name="T28" fmla="*/ 2 w 52"/>
                    <a:gd name="T29" fmla="*/ 16 h 86"/>
                    <a:gd name="T30" fmla="*/ 8 w 52"/>
                    <a:gd name="T31" fmla="*/ 8 h 86"/>
                    <a:gd name="T32" fmla="*/ 16 w 52"/>
                    <a:gd name="T33" fmla="*/ 2 h 86"/>
                    <a:gd name="T34" fmla="*/ 26 w 52"/>
                    <a:gd name="T35" fmla="*/ 0 h 86"/>
                    <a:gd name="T36" fmla="*/ 26 w 52"/>
                    <a:gd name="T37" fmla="*/ 0 h 86"/>
                    <a:gd name="T38" fmla="*/ 26 w 52"/>
                    <a:gd name="T39" fmla="*/ 0 h 86"/>
                    <a:gd name="T40" fmla="*/ 36 w 52"/>
                    <a:gd name="T41" fmla="*/ 2 h 86"/>
                    <a:gd name="T42" fmla="*/ 44 w 52"/>
                    <a:gd name="T43" fmla="*/ 8 h 86"/>
                    <a:gd name="T44" fmla="*/ 50 w 52"/>
                    <a:gd name="T45" fmla="*/ 16 h 86"/>
                    <a:gd name="T46" fmla="*/ 52 w 52"/>
                    <a:gd name="T47" fmla="*/ 26 h 86"/>
                    <a:gd name="T48" fmla="*/ 52 w 52"/>
                    <a:gd name="T49" fmla="*/ 6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2" h="86">
                      <a:moveTo>
                        <a:pt x="52" y="60"/>
                      </a:moveTo>
                      <a:lnTo>
                        <a:pt x="52" y="60"/>
                      </a:lnTo>
                      <a:lnTo>
                        <a:pt x="50" y="70"/>
                      </a:lnTo>
                      <a:lnTo>
                        <a:pt x="44" y="78"/>
                      </a:lnTo>
                      <a:lnTo>
                        <a:pt x="36" y="84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16" y="84"/>
                      </a:lnTo>
                      <a:lnTo>
                        <a:pt x="8" y="78"/>
                      </a:lnTo>
                      <a:lnTo>
                        <a:pt x="2" y="70"/>
                      </a:lnTo>
                      <a:lnTo>
                        <a:pt x="0" y="6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2" y="16"/>
                      </a:lnTo>
                      <a:lnTo>
                        <a:pt x="8" y="8"/>
                      </a:lnTo>
                      <a:lnTo>
                        <a:pt x="16" y="2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6" y="2"/>
                      </a:lnTo>
                      <a:lnTo>
                        <a:pt x="44" y="8"/>
                      </a:lnTo>
                      <a:lnTo>
                        <a:pt x="50" y="16"/>
                      </a:lnTo>
                      <a:lnTo>
                        <a:pt x="52" y="26"/>
                      </a:lnTo>
                      <a:lnTo>
                        <a:pt x="52" y="60"/>
                      </a:lnTo>
                      <a:close/>
                    </a:path>
                  </a:pathLst>
                </a:custGeom>
                <a:solidFill>
                  <a:srgbClr val="353535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41AA577D-0226-401F-B126-AEA11464E7A2}"/>
                  </a:ext>
                </a:extLst>
              </p:cNvPr>
              <p:cNvSpPr/>
              <p:nvPr/>
            </p:nvSpPr>
            <p:spPr>
              <a:xfrm>
                <a:off x="1383431" y="3626360"/>
                <a:ext cx="808171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GB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duct </a:t>
                </a:r>
              </a:p>
              <a:p>
                <a:pPr algn="ctr"/>
                <a:r>
                  <a:rPr lang="en-GB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talogue</a:t>
                </a:r>
                <a:endPara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9C7A4936-28B0-428D-90CD-A5D5734CB291}"/>
                  </a:ext>
                </a:extLst>
              </p:cNvPr>
              <p:cNvSpPr/>
              <p:nvPr/>
            </p:nvSpPr>
            <p:spPr>
              <a:xfrm>
                <a:off x="3534598" y="3649081"/>
                <a:ext cx="859589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Next Best Actions </a:t>
                </a:r>
              </a:p>
            </p:txBody>
          </p:sp>
          <p:pic>
            <p:nvPicPr>
              <p:cNvPr id="119" name="Picture 6" descr="http://www.pega.com/sites/default/files/images/icon/nba-offers_icon.png">
                <a:extLst>
                  <a:ext uri="{FF2B5EF4-FFF2-40B4-BE49-F238E27FC236}">
                    <a16:creationId xmlns:a16="http://schemas.microsoft.com/office/drawing/2014/main" id="{062698BD-F281-4D29-A67D-2C5C95DF11D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02675" y="3001331"/>
                <a:ext cx="423522" cy="4501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EA108BAC-80F7-4EC2-90AA-46C29CCC9C45}"/>
                  </a:ext>
                </a:extLst>
              </p:cNvPr>
              <p:cNvSpPr/>
              <p:nvPr/>
            </p:nvSpPr>
            <p:spPr>
              <a:xfrm>
                <a:off x="4325213" y="3648069"/>
                <a:ext cx="104064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mpaigns</a:t>
                </a:r>
                <a:endPara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pic>
            <p:nvPicPr>
              <p:cNvPr id="121" name="Picture 8" descr="http://1.bp.blogspot.com/-KfP3TFVuJZA/UwD-EDLm_gI/AAAAAAAAI-M/LIVtkMeXNG8/s1600/campaign-icon-large.png">
                <a:extLst>
                  <a:ext uri="{FF2B5EF4-FFF2-40B4-BE49-F238E27FC236}">
                    <a16:creationId xmlns:a16="http://schemas.microsoft.com/office/drawing/2014/main" id="{43E9514B-1214-46ED-B2FA-C5BCDB8A47D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colorTemperature colorTemp="47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57423" y="3033647"/>
                <a:ext cx="627986" cy="3988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D13274F7-03EF-49A0-AB9A-4355344D6702}"/>
                  </a:ext>
                </a:extLst>
              </p:cNvPr>
              <p:cNvSpPr/>
              <p:nvPr/>
            </p:nvSpPr>
            <p:spPr>
              <a:xfrm>
                <a:off x="5215611" y="3650412"/>
                <a:ext cx="983313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orkflows</a:t>
                </a:r>
                <a:endPara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pic>
            <p:nvPicPr>
              <p:cNvPr id="125" name="Picture 20" descr="http://osx.wdfiles.com/local--files/icon:icon-1-verschoben/icon-1-verschoben.png">
                <a:extLst>
                  <a:ext uri="{FF2B5EF4-FFF2-40B4-BE49-F238E27FC236}">
                    <a16:creationId xmlns:a16="http://schemas.microsoft.com/office/drawing/2014/main" id="{D992927D-1FF3-4F6E-BCE4-BA9D4B46CA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33875" y="3001331"/>
                <a:ext cx="444333" cy="4443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72FFB552-1D14-48D0-B30C-AE35C504C04F}"/>
                  </a:ext>
                </a:extLst>
              </p:cNvPr>
              <p:cNvSpPr/>
              <p:nvPr/>
            </p:nvSpPr>
            <p:spPr>
              <a:xfrm>
                <a:off x="2420841" y="3635406"/>
                <a:ext cx="1083386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ocument Management</a:t>
                </a:r>
                <a:endPara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9F6B6D73-9411-4801-BBAA-AD4694376A48}"/>
                  </a:ext>
                </a:extLst>
              </p:cNvPr>
              <p:cNvGrpSpPr/>
              <p:nvPr/>
            </p:nvGrpSpPr>
            <p:grpSpPr>
              <a:xfrm>
                <a:off x="6370622" y="3028693"/>
                <a:ext cx="353668" cy="440818"/>
                <a:chOff x="7220346" y="307887"/>
                <a:chExt cx="1155654" cy="1440428"/>
              </a:xfrm>
            </p:grpSpPr>
            <p:sp>
              <p:nvSpPr>
                <p:cNvPr id="128" name="Rectangle 17">
                  <a:extLst>
                    <a:ext uri="{FF2B5EF4-FFF2-40B4-BE49-F238E27FC236}">
                      <a16:creationId xmlns:a16="http://schemas.microsoft.com/office/drawing/2014/main" id="{646AABA3-FBD9-4EE4-A9E7-E3DB072978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1912" y="307887"/>
                  <a:ext cx="954088" cy="1216025"/>
                </a:xfrm>
                <a:prstGeom prst="rect">
                  <a:avLst/>
                </a:prstGeom>
                <a:solidFill>
                  <a:srgbClr val="FFFFFF"/>
                </a:solidFill>
                <a:ln w="12700">
                  <a:solidFill>
                    <a:srgbClr val="2D2D2A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29" name="Rectangle 17">
                  <a:extLst>
                    <a:ext uri="{FF2B5EF4-FFF2-40B4-BE49-F238E27FC236}">
                      <a16:creationId xmlns:a16="http://schemas.microsoft.com/office/drawing/2014/main" id="{25F8E1A9-2E91-4098-8E02-6E37DD26B7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20346" y="532290"/>
                  <a:ext cx="954088" cy="1216025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>
                  <a:solidFill>
                    <a:srgbClr val="2D2D2A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FDF8E551-E7AD-4BEF-8B90-ACE7EE8A2F5F}"/>
                    </a:ext>
                  </a:extLst>
                </p:cNvPr>
                <p:cNvCxnSpPr/>
                <p:nvPr/>
              </p:nvCxnSpPr>
              <p:spPr>
                <a:xfrm>
                  <a:off x="7330855" y="98474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ED4B9A61-9BD0-4278-B9BF-23CD9FF978AF}"/>
                    </a:ext>
                  </a:extLst>
                </p:cNvPr>
                <p:cNvCxnSpPr/>
                <p:nvPr/>
              </p:nvCxnSpPr>
              <p:spPr>
                <a:xfrm>
                  <a:off x="7330855" y="114300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89080EDA-8A8C-4387-A0E5-B7C327EADE51}"/>
                    </a:ext>
                  </a:extLst>
                </p:cNvPr>
                <p:cNvCxnSpPr/>
                <p:nvPr/>
              </p:nvCxnSpPr>
              <p:spPr>
                <a:xfrm>
                  <a:off x="7330855" y="129540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133" name="Straight Connector 132">
                  <a:extLst>
                    <a:ext uri="{FF2B5EF4-FFF2-40B4-BE49-F238E27FC236}">
                      <a16:creationId xmlns:a16="http://schemas.microsoft.com/office/drawing/2014/main" id="{D07AC199-5759-4895-B1EE-78B64A7CCC1B}"/>
                    </a:ext>
                  </a:extLst>
                </p:cNvPr>
                <p:cNvCxnSpPr/>
                <p:nvPr/>
              </p:nvCxnSpPr>
              <p:spPr>
                <a:xfrm>
                  <a:off x="7330855" y="145366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</p:grp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DF0908-2E12-4F42-AA06-E7A35EEC6E01}"/>
                  </a:ext>
                </a:extLst>
              </p:cNvPr>
              <p:cNvSpPr/>
              <p:nvPr/>
            </p:nvSpPr>
            <p:spPr>
              <a:xfrm>
                <a:off x="6218503" y="3661579"/>
                <a:ext cx="711769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ms</a:t>
                </a:r>
                <a:endPara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D35D9825-45FF-4F81-B190-5ACB80BD55FD}"/>
                  </a:ext>
                </a:extLst>
              </p:cNvPr>
              <p:cNvSpPr/>
              <p:nvPr/>
            </p:nvSpPr>
            <p:spPr>
              <a:xfrm>
                <a:off x="2232074" y="4793341"/>
                <a:ext cx="1224419" cy="325527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GB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nderwriting</a:t>
                </a:r>
                <a:endParaRPr lang="en-US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FEC66E64-258D-4726-AB0B-9A971FB49C51}"/>
                  </a:ext>
                </a:extLst>
              </p:cNvPr>
              <p:cNvSpPr/>
              <p:nvPr/>
            </p:nvSpPr>
            <p:spPr>
              <a:xfrm>
                <a:off x="3508231" y="4779859"/>
                <a:ext cx="751489" cy="309377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GB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olicies</a:t>
                </a:r>
                <a:endParaRPr lang="en-US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2D86824C-2E94-4F1A-87BE-FBA6D0C7E7E2}"/>
                  </a:ext>
                </a:extLst>
              </p:cNvPr>
              <p:cNvSpPr/>
              <p:nvPr/>
            </p:nvSpPr>
            <p:spPr>
              <a:xfrm>
                <a:off x="5216780" y="4793341"/>
                <a:ext cx="865019" cy="31815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GB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eporting</a:t>
                </a:r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F168A6A0-1929-44E8-9CFA-FEF03DFC1712}"/>
                  </a:ext>
                </a:extLst>
              </p:cNvPr>
              <p:cNvSpPr/>
              <p:nvPr/>
            </p:nvSpPr>
            <p:spPr>
              <a:xfrm>
                <a:off x="1599395" y="4784908"/>
                <a:ext cx="590172" cy="32866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GB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laims</a:t>
                </a:r>
                <a:endParaRPr lang="en-US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69222A20-7C7F-4A80-A689-C312481FDB0F}"/>
                  </a:ext>
                </a:extLst>
              </p:cNvPr>
              <p:cNvSpPr/>
              <p:nvPr/>
            </p:nvSpPr>
            <p:spPr>
              <a:xfrm>
                <a:off x="4301001" y="4802782"/>
                <a:ext cx="962973" cy="266077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GB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pliance</a:t>
                </a:r>
                <a:endParaRPr lang="en-US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0" name="Rectangle 149">
                <a:extLst>
                  <a:ext uri="{FF2B5EF4-FFF2-40B4-BE49-F238E27FC236}">
                    <a16:creationId xmlns:a16="http://schemas.microsoft.com/office/drawing/2014/main" id="{75552B66-09CE-453C-A9E6-789ABF017C71}"/>
                  </a:ext>
                </a:extLst>
              </p:cNvPr>
              <p:cNvSpPr/>
              <p:nvPr/>
            </p:nvSpPr>
            <p:spPr>
              <a:xfrm>
                <a:off x="6178474" y="4815486"/>
                <a:ext cx="990089" cy="267512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GB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Notifications</a:t>
                </a:r>
              </a:p>
            </p:txBody>
          </p:sp>
          <p:sp>
            <p:nvSpPr>
              <p:cNvPr id="153" name="object 103">
                <a:extLst>
                  <a:ext uri="{FF2B5EF4-FFF2-40B4-BE49-F238E27FC236}">
                    <a16:creationId xmlns:a16="http://schemas.microsoft.com/office/drawing/2014/main" id="{B334800B-4CBE-4F87-82EF-7F5BB883D119}"/>
                  </a:ext>
                </a:extLst>
              </p:cNvPr>
              <p:cNvSpPr/>
              <p:nvPr/>
            </p:nvSpPr>
            <p:spPr>
              <a:xfrm>
                <a:off x="1206719" y="5212101"/>
                <a:ext cx="5957110" cy="711713"/>
              </a:xfrm>
              <a:custGeom>
                <a:avLst/>
                <a:gdLst/>
                <a:ahLst/>
                <a:cxnLst/>
                <a:rect l="l" t="t" r="r" b="b"/>
                <a:pathLst>
                  <a:path w="1769110" h="1626870">
                    <a:moveTo>
                      <a:pt x="0" y="1626488"/>
                    </a:moveTo>
                    <a:lnTo>
                      <a:pt x="1768983" y="1626488"/>
                    </a:lnTo>
                    <a:lnTo>
                      <a:pt x="1768983" y="0"/>
                    </a:lnTo>
                    <a:lnTo>
                      <a:pt x="0" y="0"/>
                    </a:lnTo>
                    <a:lnTo>
                      <a:pt x="0" y="1626488"/>
                    </a:lnTo>
                    <a:close/>
                  </a:path>
                </a:pathLst>
              </a:custGeom>
              <a:solidFill>
                <a:srgbClr val="F5F9F9"/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pic>
            <p:nvPicPr>
              <p:cNvPr id="157" name="Picture 156">
                <a:extLst>
                  <a:ext uri="{FF2B5EF4-FFF2-40B4-BE49-F238E27FC236}">
                    <a16:creationId xmlns:a16="http://schemas.microsoft.com/office/drawing/2014/main" id="{B6511B88-D171-4086-9FB0-9A17E722CF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4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536539" y="4308276"/>
                <a:ext cx="474171" cy="392038"/>
              </a:xfrm>
              <a:prstGeom prst="rect">
                <a:avLst/>
              </a:prstGeom>
            </p:spPr>
          </p:pic>
          <p:pic>
            <p:nvPicPr>
              <p:cNvPr id="161" name="Picture 160">
                <a:extLst>
                  <a:ext uri="{FF2B5EF4-FFF2-40B4-BE49-F238E27FC236}">
                    <a16:creationId xmlns:a16="http://schemas.microsoft.com/office/drawing/2014/main" id="{9D3C7C5A-D5EA-42AA-9C90-CCB2FA9573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430245" y="2972079"/>
                <a:ext cx="554047" cy="554047"/>
              </a:xfrm>
              <a:prstGeom prst="rect">
                <a:avLst/>
              </a:prstGeom>
            </p:spPr>
          </p:pic>
          <p:pic>
            <p:nvPicPr>
              <p:cNvPr id="162" name="Picture 161">
                <a:extLst>
                  <a:ext uri="{FF2B5EF4-FFF2-40B4-BE49-F238E27FC236}">
                    <a16:creationId xmlns:a16="http://schemas.microsoft.com/office/drawing/2014/main" id="{E1128C4C-ECD7-46DB-855D-93F9E4277E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466695" y="4342969"/>
                <a:ext cx="392037" cy="392037"/>
              </a:xfrm>
              <a:prstGeom prst="rect">
                <a:avLst/>
              </a:prstGeom>
            </p:spPr>
          </p:pic>
          <p:grpSp>
            <p:nvGrpSpPr>
              <p:cNvPr id="164" name="Group 163">
                <a:extLst>
                  <a:ext uri="{FF2B5EF4-FFF2-40B4-BE49-F238E27FC236}">
                    <a16:creationId xmlns:a16="http://schemas.microsoft.com/office/drawing/2014/main" id="{0799B988-EC91-4A9B-BE12-3646B7AC3AB0}"/>
                  </a:ext>
                </a:extLst>
              </p:cNvPr>
              <p:cNvGrpSpPr/>
              <p:nvPr/>
            </p:nvGrpSpPr>
            <p:grpSpPr>
              <a:xfrm>
                <a:off x="1826899" y="5296129"/>
                <a:ext cx="291503" cy="287301"/>
                <a:chOff x="533400" y="4724400"/>
                <a:chExt cx="291503" cy="287301"/>
              </a:xfrm>
            </p:grpSpPr>
            <p:sp>
              <p:nvSpPr>
                <p:cNvPr id="165" name="object 22">
                  <a:extLst>
                    <a:ext uri="{FF2B5EF4-FFF2-40B4-BE49-F238E27FC236}">
                      <a16:creationId xmlns:a16="http://schemas.microsoft.com/office/drawing/2014/main" id="{80C7241C-47BA-447E-B866-69EAE2BDDF45}"/>
                    </a:ext>
                  </a:extLst>
                </p:cNvPr>
                <p:cNvSpPr/>
                <p:nvPr/>
              </p:nvSpPr>
              <p:spPr>
                <a:xfrm>
                  <a:off x="533687" y="4724400"/>
                  <a:ext cx="290695" cy="841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215" h="85725">
                      <a:moveTo>
                        <a:pt x="161480" y="0"/>
                      </a:moveTo>
                      <a:lnTo>
                        <a:pt x="102290" y="3103"/>
                      </a:lnTo>
                      <a:lnTo>
                        <a:pt x="60396" y="9469"/>
                      </a:lnTo>
                      <a:lnTo>
                        <a:pt x="22542" y="20907"/>
                      </a:lnTo>
                      <a:lnTo>
                        <a:pt x="0" y="43275"/>
                      </a:lnTo>
                      <a:lnTo>
                        <a:pt x="2159" y="49903"/>
                      </a:lnTo>
                      <a:lnTo>
                        <a:pt x="42687" y="71620"/>
                      </a:lnTo>
                      <a:lnTo>
                        <a:pt x="94551" y="81407"/>
                      </a:lnTo>
                      <a:lnTo>
                        <a:pt x="146224" y="85137"/>
                      </a:lnTo>
                      <a:lnTo>
                        <a:pt x="172186" y="85211"/>
                      </a:lnTo>
                      <a:lnTo>
                        <a:pt x="198183" y="84201"/>
                      </a:lnTo>
                      <a:lnTo>
                        <a:pt x="239950" y="80089"/>
                      </a:lnTo>
                      <a:lnTo>
                        <a:pt x="280479" y="71501"/>
                      </a:lnTo>
                      <a:lnTo>
                        <a:pt x="321057" y="49746"/>
                      </a:lnTo>
                      <a:lnTo>
                        <a:pt x="323135" y="43164"/>
                      </a:lnTo>
                      <a:lnTo>
                        <a:pt x="321474" y="36558"/>
                      </a:lnTo>
                      <a:lnTo>
                        <a:pt x="279800" y="13626"/>
                      </a:lnTo>
                      <a:lnTo>
                        <a:pt x="216360" y="2587"/>
                      </a:lnTo>
                      <a:lnTo>
                        <a:pt x="161480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66" name="object 23">
                  <a:extLst>
                    <a:ext uri="{FF2B5EF4-FFF2-40B4-BE49-F238E27FC236}">
                      <a16:creationId xmlns:a16="http://schemas.microsoft.com/office/drawing/2014/main" id="{67E5A830-8615-486E-9ABE-14E1D4179D11}"/>
                    </a:ext>
                  </a:extLst>
                </p:cNvPr>
                <p:cNvSpPr/>
                <p:nvPr/>
              </p:nvSpPr>
              <p:spPr>
                <a:xfrm>
                  <a:off x="533400" y="4937564"/>
                  <a:ext cx="291267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850" h="75564">
                      <a:moveTo>
                        <a:pt x="380" y="977"/>
                      </a:moveTo>
                      <a:lnTo>
                        <a:pt x="376" y="25311"/>
                      </a:lnTo>
                      <a:lnTo>
                        <a:pt x="253" y="30352"/>
                      </a:lnTo>
                      <a:lnTo>
                        <a:pt x="0" y="37769"/>
                      </a:lnTo>
                      <a:lnTo>
                        <a:pt x="4063" y="43357"/>
                      </a:lnTo>
                      <a:lnTo>
                        <a:pt x="42290" y="61544"/>
                      </a:lnTo>
                      <a:lnTo>
                        <a:pt x="98190" y="72150"/>
                      </a:lnTo>
                      <a:lnTo>
                        <a:pt x="150711" y="75432"/>
                      </a:lnTo>
                      <a:lnTo>
                        <a:pt x="183943" y="75206"/>
                      </a:lnTo>
                      <a:lnTo>
                        <a:pt x="250062" y="68681"/>
                      </a:lnTo>
                      <a:lnTo>
                        <a:pt x="293496" y="57762"/>
                      </a:lnTo>
                      <a:lnTo>
                        <a:pt x="323722" y="27978"/>
                      </a:lnTo>
                      <a:lnTo>
                        <a:pt x="323611" y="27363"/>
                      </a:lnTo>
                      <a:lnTo>
                        <a:pt x="166862" y="27363"/>
                      </a:lnTo>
                      <a:lnTo>
                        <a:pt x="144587" y="27145"/>
                      </a:lnTo>
                      <a:lnTo>
                        <a:pt x="100724" y="24396"/>
                      </a:lnTo>
                      <a:lnTo>
                        <a:pt x="58239" y="18266"/>
                      </a:lnTo>
                      <a:lnTo>
                        <a:pt x="18891" y="7392"/>
                      </a:lnTo>
                      <a:lnTo>
                        <a:pt x="380" y="977"/>
                      </a:lnTo>
                      <a:close/>
                    </a:path>
                    <a:path w="323850" h="75564">
                      <a:moveTo>
                        <a:pt x="323468" y="0"/>
                      </a:moveTo>
                      <a:lnTo>
                        <a:pt x="319277" y="1816"/>
                      </a:lnTo>
                      <a:lnTo>
                        <a:pt x="315848" y="3492"/>
                      </a:lnTo>
                      <a:lnTo>
                        <a:pt x="312165" y="4889"/>
                      </a:lnTo>
                      <a:lnTo>
                        <a:pt x="263175" y="18772"/>
                      </a:lnTo>
                      <a:lnTo>
                        <a:pt x="211327" y="25311"/>
                      </a:lnTo>
                      <a:lnTo>
                        <a:pt x="166862" y="27363"/>
                      </a:lnTo>
                      <a:lnTo>
                        <a:pt x="323611" y="27363"/>
                      </a:lnTo>
                      <a:lnTo>
                        <a:pt x="323392" y="26149"/>
                      </a:lnTo>
                      <a:lnTo>
                        <a:pt x="323468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67" name="object 24">
                  <a:extLst>
                    <a:ext uri="{FF2B5EF4-FFF2-40B4-BE49-F238E27FC236}">
                      <a16:creationId xmlns:a16="http://schemas.microsoft.com/office/drawing/2014/main" id="{98FC7BC1-914A-45F6-9BD6-649B472C8ABA}"/>
                    </a:ext>
                  </a:extLst>
                </p:cNvPr>
                <p:cNvSpPr/>
                <p:nvPr/>
              </p:nvSpPr>
              <p:spPr>
                <a:xfrm>
                  <a:off x="533636" y="4802149"/>
                  <a:ext cx="291267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850" h="75564">
                      <a:moveTo>
                        <a:pt x="245" y="253"/>
                      </a:moveTo>
                      <a:lnTo>
                        <a:pt x="118" y="888"/>
                      </a:lnTo>
                      <a:lnTo>
                        <a:pt x="0" y="27289"/>
                      </a:lnTo>
                      <a:lnTo>
                        <a:pt x="245" y="32892"/>
                      </a:lnTo>
                      <a:lnTo>
                        <a:pt x="39631" y="60669"/>
                      </a:lnTo>
                      <a:lnTo>
                        <a:pt x="90786" y="70915"/>
                      </a:lnTo>
                      <a:lnTo>
                        <a:pt x="148837" y="75085"/>
                      </a:lnTo>
                      <a:lnTo>
                        <a:pt x="178172" y="74968"/>
                      </a:lnTo>
                      <a:lnTo>
                        <a:pt x="221749" y="72259"/>
                      </a:lnTo>
                      <a:lnTo>
                        <a:pt x="264659" y="65455"/>
                      </a:lnTo>
                      <a:lnTo>
                        <a:pt x="311776" y="48513"/>
                      </a:lnTo>
                      <a:lnTo>
                        <a:pt x="323841" y="37591"/>
                      </a:lnTo>
                      <a:lnTo>
                        <a:pt x="323460" y="29971"/>
                      </a:lnTo>
                      <a:lnTo>
                        <a:pt x="323380" y="27289"/>
                      </a:lnTo>
                      <a:lnTo>
                        <a:pt x="154725" y="27289"/>
                      </a:lnTo>
                      <a:lnTo>
                        <a:pt x="124219" y="26160"/>
                      </a:lnTo>
                      <a:lnTo>
                        <a:pt x="69670" y="20242"/>
                      </a:lnTo>
                      <a:lnTo>
                        <a:pt x="23371" y="9261"/>
                      </a:lnTo>
                      <a:lnTo>
                        <a:pt x="1642" y="380"/>
                      </a:lnTo>
                      <a:lnTo>
                        <a:pt x="1007" y="380"/>
                      </a:lnTo>
                      <a:lnTo>
                        <a:pt x="245" y="253"/>
                      </a:lnTo>
                      <a:close/>
                    </a:path>
                    <a:path w="323850" h="75564">
                      <a:moveTo>
                        <a:pt x="322825" y="0"/>
                      </a:moveTo>
                      <a:lnTo>
                        <a:pt x="318507" y="1904"/>
                      </a:lnTo>
                      <a:lnTo>
                        <a:pt x="314443" y="3809"/>
                      </a:lnTo>
                      <a:lnTo>
                        <a:pt x="310379" y="5460"/>
                      </a:lnTo>
                      <a:lnTo>
                        <a:pt x="264326" y="18367"/>
                      </a:lnTo>
                      <a:lnTo>
                        <a:pt x="215891" y="24891"/>
                      </a:lnTo>
                      <a:lnTo>
                        <a:pt x="154725" y="27289"/>
                      </a:lnTo>
                      <a:lnTo>
                        <a:pt x="323380" y="27289"/>
                      </a:lnTo>
                      <a:lnTo>
                        <a:pt x="323260" y="23250"/>
                      </a:lnTo>
                      <a:lnTo>
                        <a:pt x="323079" y="1269"/>
                      </a:lnTo>
                      <a:lnTo>
                        <a:pt x="322825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68" name="object 25">
                  <a:extLst>
                    <a:ext uri="{FF2B5EF4-FFF2-40B4-BE49-F238E27FC236}">
                      <a16:creationId xmlns:a16="http://schemas.microsoft.com/office/drawing/2014/main" id="{71641866-B7A1-4A90-BDE7-40CC51087094}"/>
                    </a:ext>
                  </a:extLst>
                </p:cNvPr>
                <p:cNvSpPr/>
                <p:nvPr/>
              </p:nvSpPr>
              <p:spPr>
                <a:xfrm>
                  <a:off x="533515" y="4869770"/>
                  <a:ext cx="290695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215" h="75564">
                      <a:moveTo>
                        <a:pt x="253" y="0"/>
                      </a:moveTo>
                      <a:lnTo>
                        <a:pt x="221" y="23735"/>
                      </a:lnTo>
                      <a:lnTo>
                        <a:pt x="0" y="28803"/>
                      </a:lnTo>
                      <a:lnTo>
                        <a:pt x="690" y="35276"/>
                      </a:lnTo>
                      <a:lnTo>
                        <a:pt x="33639" y="58778"/>
                      </a:lnTo>
                      <a:lnTo>
                        <a:pt x="86512" y="70442"/>
                      </a:lnTo>
                      <a:lnTo>
                        <a:pt x="151318" y="75218"/>
                      </a:lnTo>
                      <a:lnTo>
                        <a:pt x="184149" y="74828"/>
                      </a:lnTo>
                      <a:lnTo>
                        <a:pt x="228361" y="71596"/>
                      </a:lnTo>
                      <a:lnTo>
                        <a:pt x="271525" y="64058"/>
                      </a:lnTo>
                      <a:lnTo>
                        <a:pt x="311911" y="48526"/>
                      </a:lnTo>
                      <a:lnTo>
                        <a:pt x="322960" y="34823"/>
                      </a:lnTo>
                      <a:lnTo>
                        <a:pt x="323224" y="27458"/>
                      </a:lnTo>
                      <a:lnTo>
                        <a:pt x="158529" y="27458"/>
                      </a:lnTo>
                      <a:lnTo>
                        <a:pt x="127126" y="26428"/>
                      </a:lnTo>
                      <a:lnTo>
                        <a:pt x="94122" y="23735"/>
                      </a:lnTo>
                      <a:lnTo>
                        <a:pt x="61785" y="19034"/>
                      </a:lnTo>
                      <a:lnTo>
                        <a:pt x="30400" y="11423"/>
                      </a:lnTo>
                      <a:lnTo>
                        <a:pt x="253" y="0"/>
                      </a:lnTo>
                      <a:close/>
                    </a:path>
                    <a:path w="323215" h="75564">
                      <a:moveTo>
                        <a:pt x="323214" y="139"/>
                      </a:moveTo>
                      <a:lnTo>
                        <a:pt x="322198" y="558"/>
                      </a:lnTo>
                      <a:lnTo>
                        <a:pt x="321690" y="698"/>
                      </a:lnTo>
                      <a:lnTo>
                        <a:pt x="321309" y="838"/>
                      </a:lnTo>
                      <a:lnTo>
                        <a:pt x="270232" y="17397"/>
                      </a:lnTo>
                      <a:lnTo>
                        <a:pt x="221049" y="24699"/>
                      </a:lnTo>
                      <a:lnTo>
                        <a:pt x="158529" y="27458"/>
                      </a:lnTo>
                      <a:lnTo>
                        <a:pt x="323224" y="27458"/>
                      </a:lnTo>
                      <a:lnTo>
                        <a:pt x="323214" y="139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169" name="object 38">
                <a:extLst>
                  <a:ext uri="{FF2B5EF4-FFF2-40B4-BE49-F238E27FC236}">
                    <a16:creationId xmlns:a16="http://schemas.microsoft.com/office/drawing/2014/main" id="{DA729A91-0D52-47CA-8CC2-9DE47DB24322}"/>
                  </a:ext>
                </a:extLst>
              </p:cNvPr>
              <p:cNvSpPr txBox="1"/>
              <p:nvPr/>
            </p:nvSpPr>
            <p:spPr>
              <a:xfrm>
                <a:off x="1569257" y="5745034"/>
                <a:ext cx="798944" cy="136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algn="ctr">
                  <a:lnSpc>
                    <a:spcPts val="982"/>
                  </a:lnSpc>
                </a:pPr>
                <a:r>
                  <a:rPr lang="en-GB" sz="1200" spc="-4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ustomers</a:t>
                </a:r>
                <a:endParaRPr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8F001E13-3257-4D4F-9DF3-CA2EB5A53668}"/>
                  </a:ext>
                </a:extLst>
              </p:cNvPr>
              <p:cNvGrpSpPr/>
              <p:nvPr/>
            </p:nvGrpSpPr>
            <p:grpSpPr>
              <a:xfrm>
                <a:off x="3566794" y="5296129"/>
                <a:ext cx="291503" cy="287301"/>
                <a:chOff x="533400" y="4724400"/>
                <a:chExt cx="291503" cy="287301"/>
              </a:xfrm>
            </p:grpSpPr>
            <p:sp>
              <p:nvSpPr>
                <p:cNvPr id="171" name="object 22">
                  <a:extLst>
                    <a:ext uri="{FF2B5EF4-FFF2-40B4-BE49-F238E27FC236}">
                      <a16:creationId xmlns:a16="http://schemas.microsoft.com/office/drawing/2014/main" id="{5E3D035E-A577-489C-95B9-709061034289}"/>
                    </a:ext>
                  </a:extLst>
                </p:cNvPr>
                <p:cNvSpPr/>
                <p:nvPr/>
              </p:nvSpPr>
              <p:spPr>
                <a:xfrm>
                  <a:off x="533687" y="4724400"/>
                  <a:ext cx="290695" cy="841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215" h="85725">
                      <a:moveTo>
                        <a:pt x="161480" y="0"/>
                      </a:moveTo>
                      <a:lnTo>
                        <a:pt x="102290" y="3103"/>
                      </a:lnTo>
                      <a:lnTo>
                        <a:pt x="60396" y="9469"/>
                      </a:lnTo>
                      <a:lnTo>
                        <a:pt x="22542" y="20907"/>
                      </a:lnTo>
                      <a:lnTo>
                        <a:pt x="0" y="43275"/>
                      </a:lnTo>
                      <a:lnTo>
                        <a:pt x="2159" y="49903"/>
                      </a:lnTo>
                      <a:lnTo>
                        <a:pt x="42687" y="71620"/>
                      </a:lnTo>
                      <a:lnTo>
                        <a:pt x="94551" y="81407"/>
                      </a:lnTo>
                      <a:lnTo>
                        <a:pt x="146224" y="85137"/>
                      </a:lnTo>
                      <a:lnTo>
                        <a:pt x="172186" y="85211"/>
                      </a:lnTo>
                      <a:lnTo>
                        <a:pt x="198183" y="84201"/>
                      </a:lnTo>
                      <a:lnTo>
                        <a:pt x="239950" y="80089"/>
                      </a:lnTo>
                      <a:lnTo>
                        <a:pt x="280479" y="71501"/>
                      </a:lnTo>
                      <a:lnTo>
                        <a:pt x="321057" y="49746"/>
                      </a:lnTo>
                      <a:lnTo>
                        <a:pt x="323135" y="43164"/>
                      </a:lnTo>
                      <a:lnTo>
                        <a:pt x="321474" y="36558"/>
                      </a:lnTo>
                      <a:lnTo>
                        <a:pt x="279800" y="13626"/>
                      </a:lnTo>
                      <a:lnTo>
                        <a:pt x="216360" y="2587"/>
                      </a:lnTo>
                      <a:lnTo>
                        <a:pt x="161480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72" name="object 23">
                  <a:extLst>
                    <a:ext uri="{FF2B5EF4-FFF2-40B4-BE49-F238E27FC236}">
                      <a16:creationId xmlns:a16="http://schemas.microsoft.com/office/drawing/2014/main" id="{B12B506A-1CD6-4A73-B971-BC8805A9FE3B}"/>
                    </a:ext>
                  </a:extLst>
                </p:cNvPr>
                <p:cNvSpPr/>
                <p:nvPr/>
              </p:nvSpPr>
              <p:spPr>
                <a:xfrm>
                  <a:off x="533400" y="4937564"/>
                  <a:ext cx="291267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850" h="75564">
                      <a:moveTo>
                        <a:pt x="380" y="977"/>
                      </a:moveTo>
                      <a:lnTo>
                        <a:pt x="376" y="25311"/>
                      </a:lnTo>
                      <a:lnTo>
                        <a:pt x="253" y="30352"/>
                      </a:lnTo>
                      <a:lnTo>
                        <a:pt x="0" y="37769"/>
                      </a:lnTo>
                      <a:lnTo>
                        <a:pt x="4063" y="43357"/>
                      </a:lnTo>
                      <a:lnTo>
                        <a:pt x="42290" y="61544"/>
                      </a:lnTo>
                      <a:lnTo>
                        <a:pt x="98190" y="72150"/>
                      </a:lnTo>
                      <a:lnTo>
                        <a:pt x="150711" y="75432"/>
                      </a:lnTo>
                      <a:lnTo>
                        <a:pt x="183943" y="75206"/>
                      </a:lnTo>
                      <a:lnTo>
                        <a:pt x="250062" y="68681"/>
                      </a:lnTo>
                      <a:lnTo>
                        <a:pt x="293496" y="57762"/>
                      </a:lnTo>
                      <a:lnTo>
                        <a:pt x="323722" y="27978"/>
                      </a:lnTo>
                      <a:lnTo>
                        <a:pt x="323611" y="27363"/>
                      </a:lnTo>
                      <a:lnTo>
                        <a:pt x="166862" y="27363"/>
                      </a:lnTo>
                      <a:lnTo>
                        <a:pt x="144587" y="27145"/>
                      </a:lnTo>
                      <a:lnTo>
                        <a:pt x="100724" y="24396"/>
                      </a:lnTo>
                      <a:lnTo>
                        <a:pt x="58239" y="18266"/>
                      </a:lnTo>
                      <a:lnTo>
                        <a:pt x="18891" y="7392"/>
                      </a:lnTo>
                      <a:lnTo>
                        <a:pt x="380" y="977"/>
                      </a:lnTo>
                      <a:close/>
                    </a:path>
                    <a:path w="323850" h="75564">
                      <a:moveTo>
                        <a:pt x="323468" y="0"/>
                      </a:moveTo>
                      <a:lnTo>
                        <a:pt x="319277" y="1816"/>
                      </a:lnTo>
                      <a:lnTo>
                        <a:pt x="315848" y="3492"/>
                      </a:lnTo>
                      <a:lnTo>
                        <a:pt x="312165" y="4889"/>
                      </a:lnTo>
                      <a:lnTo>
                        <a:pt x="263175" y="18772"/>
                      </a:lnTo>
                      <a:lnTo>
                        <a:pt x="211327" y="25311"/>
                      </a:lnTo>
                      <a:lnTo>
                        <a:pt x="166862" y="27363"/>
                      </a:lnTo>
                      <a:lnTo>
                        <a:pt x="323611" y="27363"/>
                      </a:lnTo>
                      <a:lnTo>
                        <a:pt x="323392" y="26149"/>
                      </a:lnTo>
                      <a:lnTo>
                        <a:pt x="323468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73" name="object 24">
                  <a:extLst>
                    <a:ext uri="{FF2B5EF4-FFF2-40B4-BE49-F238E27FC236}">
                      <a16:creationId xmlns:a16="http://schemas.microsoft.com/office/drawing/2014/main" id="{64723CA5-A94B-4AFA-8F52-BF06BF8C73B2}"/>
                    </a:ext>
                  </a:extLst>
                </p:cNvPr>
                <p:cNvSpPr/>
                <p:nvPr/>
              </p:nvSpPr>
              <p:spPr>
                <a:xfrm>
                  <a:off x="533636" y="4802149"/>
                  <a:ext cx="291267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850" h="75564">
                      <a:moveTo>
                        <a:pt x="245" y="253"/>
                      </a:moveTo>
                      <a:lnTo>
                        <a:pt x="118" y="888"/>
                      </a:lnTo>
                      <a:lnTo>
                        <a:pt x="0" y="27289"/>
                      </a:lnTo>
                      <a:lnTo>
                        <a:pt x="245" y="32892"/>
                      </a:lnTo>
                      <a:lnTo>
                        <a:pt x="39631" y="60669"/>
                      </a:lnTo>
                      <a:lnTo>
                        <a:pt x="90786" y="70915"/>
                      </a:lnTo>
                      <a:lnTo>
                        <a:pt x="148837" y="75085"/>
                      </a:lnTo>
                      <a:lnTo>
                        <a:pt x="178172" y="74968"/>
                      </a:lnTo>
                      <a:lnTo>
                        <a:pt x="221749" y="72259"/>
                      </a:lnTo>
                      <a:lnTo>
                        <a:pt x="264659" y="65455"/>
                      </a:lnTo>
                      <a:lnTo>
                        <a:pt x="311776" y="48513"/>
                      </a:lnTo>
                      <a:lnTo>
                        <a:pt x="323841" y="37591"/>
                      </a:lnTo>
                      <a:lnTo>
                        <a:pt x="323460" y="29971"/>
                      </a:lnTo>
                      <a:lnTo>
                        <a:pt x="323380" y="27289"/>
                      </a:lnTo>
                      <a:lnTo>
                        <a:pt x="154725" y="27289"/>
                      </a:lnTo>
                      <a:lnTo>
                        <a:pt x="124219" y="26160"/>
                      </a:lnTo>
                      <a:lnTo>
                        <a:pt x="69670" y="20242"/>
                      </a:lnTo>
                      <a:lnTo>
                        <a:pt x="23371" y="9261"/>
                      </a:lnTo>
                      <a:lnTo>
                        <a:pt x="1642" y="380"/>
                      </a:lnTo>
                      <a:lnTo>
                        <a:pt x="1007" y="380"/>
                      </a:lnTo>
                      <a:lnTo>
                        <a:pt x="245" y="253"/>
                      </a:lnTo>
                      <a:close/>
                    </a:path>
                    <a:path w="323850" h="75564">
                      <a:moveTo>
                        <a:pt x="322825" y="0"/>
                      </a:moveTo>
                      <a:lnTo>
                        <a:pt x="318507" y="1904"/>
                      </a:lnTo>
                      <a:lnTo>
                        <a:pt x="314443" y="3809"/>
                      </a:lnTo>
                      <a:lnTo>
                        <a:pt x="310379" y="5460"/>
                      </a:lnTo>
                      <a:lnTo>
                        <a:pt x="264326" y="18367"/>
                      </a:lnTo>
                      <a:lnTo>
                        <a:pt x="215891" y="24891"/>
                      </a:lnTo>
                      <a:lnTo>
                        <a:pt x="154725" y="27289"/>
                      </a:lnTo>
                      <a:lnTo>
                        <a:pt x="323380" y="27289"/>
                      </a:lnTo>
                      <a:lnTo>
                        <a:pt x="323260" y="23250"/>
                      </a:lnTo>
                      <a:lnTo>
                        <a:pt x="323079" y="1269"/>
                      </a:lnTo>
                      <a:lnTo>
                        <a:pt x="322825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74" name="object 25">
                  <a:extLst>
                    <a:ext uri="{FF2B5EF4-FFF2-40B4-BE49-F238E27FC236}">
                      <a16:creationId xmlns:a16="http://schemas.microsoft.com/office/drawing/2014/main" id="{B26E078F-3454-4586-B1BD-CE6621B66078}"/>
                    </a:ext>
                  </a:extLst>
                </p:cNvPr>
                <p:cNvSpPr/>
                <p:nvPr/>
              </p:nvSpPr>
              <p:spPr>
                <a:xfrm>
                  <a:off x="533515" y="4869770"/>
                  <a:ext cx="290695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215" h="75564">
                      <a:moveTo>
                        <a:pt x="253" y="0"/>
                      </a:moveTo>
                      <a:lnTo>
                        <a:pt x="221" y="23735"/>
                      </a:lnTo>
                      <a:lnTo>
                        <a:pt x="0" y="28803"/>
                      </a:lnTo>
                      <a:lnTo>
                        <a:pt x="690" y="35276"/>
                      </a:lnTo>
                      <a:lnTo>
                        <a:pt x="33639" y="58778"/>
                      </a:lnTo>
                      <a:lnTo>
                        <a:pt x="86512" y="70442"/>
                      </a:lnTo>
                      <a:lnTo>
                        <a:pt x="151318" y="75218"/>
                      </a:lnTo>
                      <a:lnTo>
                        <a:pt x="184149" y="74828"/>
                      </a:lnTo>
                      <a:lnTo>
                        <a:pt x="228361" y="71596"/>
                      </a:lnTo>
                      <a:lnTo>
                        <a:pt x="271525" y="64058"/>
                      </a:lnTo>
                      <a:lnTo>
                        <a:pt x="311911" y="48526"/>
                      </a:lnTo>
                      <a:lnTo>
                        <a:pt x="322960" y="34823"/>
                      </a:lnTo>
                      <a:lnTo>
                        <a:pt x="323224" y="27458"/>
                      </a:lnTo>
                      <a:lnTo>
                        <a:pt x="158529" y="27458"/>
                      </a:lnTo>
                      <a:lnTo>
                        <a:pt x="127126" y="26428"/>
                      </a:lnTo>
                      <a:lnTo>
                        <a:pt x="94122" y="23735"/>
                      </a:lnTo>
                      <a:lnTo>
                        <a:pt x="61785" y="19034"/>
                      </a:lnTo>
                      <a:lnTo>
                        <a:pt x="30400" y="11423"/>
                      </a:lnTo>
                      <a:lnTo>
                        <a:pt x="253" y="0"/>
                      </a:lnTo>
                      <a:close/>
                    </a:path>
                    <a:path w="323215" h="75564">
                      <a:moveTo>
                        <a:pt x="323214" y="139"/>
                      </a:moveTo>
                      <a:lnTo>
                        <a:pt x="322198" y="558"/>
                      </a:lnTo>
                      <a:lnTo>
                        <a:pt x="321690" y="698"/>
                      </a:lnTo>
                      <a:lnTo>
                        <a:pt x="321309" y="838"/>
                      </a:lnTo>
                      <a:lnTo>
                        <a:pt x="270232" y="17397"/>
                      </a:lnTo>
                      <a:lnTo>
                        <a:pt x="221049" y="24699"/>
                      </a:lnTo>
                      <a:lnTo>
                        <a:pt x="158529" y="27458"/>
                      </a:lnTo>
                      <a:lnTo>
                        <a:pt x="323224" y="27458"/>
                      </a:lnTo>
                      <a:lnTo>
                        <a:pt x="323214" y="139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175" name="object 38">
                <a:extLst>
                  <a:ext uri="{FF2B5EF4-FFF2-40B4-BE49-F238E27FC236}">
                    <a16:creationId xmlns:a16="http://schemas.microsoft.com/office/drawing/2014/main" id="{C20CDF92-96F1-42F3-B463-6FA866CBCF90}"/>
                  </a:ext>
                </a:extLst>
              </p:cNvPr>
              <p:cNvSpPr txBox="1"/>
              <p:nvPr/>
            </p:nvSpPr>
            <p:spPr>
              <a:xfrm>
                <a:off x="3401474" y="5701537"/>
                <a:ext cx="600829" cy="136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algn="ctr">
                  <a:lnSpc>
                    <a:spcPts val="982"/>
                  </a:lnSpc>
                </a:pPr>
                <a:r>
                  <a:rPr lang="en-US" sz="1200" spc="-4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laims</a:t>
                </a:r>
                <a:endParaRPr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63B100CD-1C10-4066-A7E3-BB71CE0A39BB}"/>
                  </a:ext>
                </a:extLst>
              </p:cNvPr>
              <p:cNvGrpSpPr/>
              <p:nvPr/>
            </p:nvGrpSpPr>
            <p:grpSpPr>
              <a:xfrm>
                <a:off x="5055776" y="5292512"/>
                <a:ext cx="291503" cy="287301"/>
                <a:chOff x="533400" y="4724400"/>
                <a:chExt cx="291503" cy="287301"/>
              </a:xfrm>
            </p:grpSpPr>
            <p:sp>
              <p:nvSpPr>
                <p:cNvPr id="177" name="object 22">
                  <a:extLst>
                    <a:ext uri="{FF2B5EF4-FFF2-40B4-BE49-F238E27FC236}">
                      <a16:creationId xmlns:a16="http://schemas.microsoft.com/office/drawing/2014/main" id="{86F5B00C-168D-4046-8810-DD238115765E}"/>
                    </a:ext>
                  </a:extLst>
                </p:cNvPr>
                <p:cNvSpPr/>
                <p:nvPr/>
              </p:nvSpPr>
              <p:spPr>
                <a:xfrm>
                  <a:off x="533687" y="4724400"/>
                  <a:ext cx="290695" cy="841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215" h="85725">
                      <a:moveTo>
                        <a:pt x="161480" y="0"/>
                      </a:moveTo>
                      <a:lnTo>
                        <a:pt x="102290" y="3103"/>
                      </a:lnTo>
                      <a:lnTo>
                        <a:pt x="60396" y="9469"/>
                      </a:lnTo>
                      <a:lnTo>
                        <a:pt x="22542" y="20907"/>
                      </a:lnTo>
                      <a:lnTo>
                        <a:pt x="0" y="43275"/>
                      </a:lnTo>
                      <a:lnTo>
                        <a:pt x="2159" y="49903"/>
                      </a:lnTo>
                      <a:lnTo>
                        <a:pt x="42687" y="71620"/>
                      </a:lnTo>
                      <a:lnTo>
                        <a:pt x="94551" y="81407"/>
                      </a:lnTo>
                      <a:lnTo>
                        <a:pt x="146224" y="85137"/>
                      </a:lnTo>
                      <a:lnTo>
                        <a:pt x="172186" y="85211"/>
                      </a:lnTo>
                      <a:lnTo>
                        <a:pt x="198183" y="84201"/>
                      </a:lnTo>
                      <a:lnTo>
                        <a:pt x="239950" y="80089"/>
                      </a:lnTo>
                      <a:lnTo>
                        <a:pt x="280479" y="71501"/>
                      </a:lnTo>
                      <a:lnTo>
                        <a:pt x="321057" y="49746"/>
                      </a:lnTo>
                      <a:lnTo>
                        <a:pt x="323135" y="43164"/>
                      </a:lnTo>
                      <a:lnTo>
                        <a:pt x="321474" y="36558"/>
                      </a:lnTo>
                      <a:lnTo>
                        <a:pt x="279800" y="13626"/>
                      </a:lnTo>
                      <a:lnTo>
                        <a:pt x="216360" y="2587"/>
                      </a:lnTo>
                      <a:lnTo>
                        <a:pt x="161480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78" name="object 23">
                  <a:extLst>
                    <a:ext uri="{FF2B5EF4-FFF2-40B4-BE49-F238E27FC236}">
                      <a16:creationId xmlns:a16="http://schemas.microsoft.com/office/drawing/2014/main" id="{60E14902-37ED-4477-B902-3A6D3710DC83}"/>
                    </a:ext>
                  </a:extLst>
                </p:cNvPr>
                <p:cNvSpPr/>
                <p:nvPr/>
              </p:nvSpPr>
              <p:spPr>
                <a:xfrm>
                  <a:off x="533400" y="4937564"/>
                  <a:ext cx="291267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850" h="75564">
                      <a:moveTo>
                        <a:pt x="380" y="977"/>
                      </a:moveTo>
                      <a:lnTo>
                        <a:pt x="376" y="25311"/>
                      </a:lnTo>
                      <a:lnTo>
                        <a:pt x="253" y="30352"/>
                      </a:lnTo>
                      <a:lnTo>
                        <a:pt x="0" y="37769"/>
                      </a:lnTo>
                      <a:lnTo>
                        <a:pt x="4063" y="43357"/>
                      </a:lnTo>
                      <a:lnTo>
                        <a:pt x="42290" y="61544"/>
                      </a:lnTo>
                      <a:lnTo>
                        <a:pt x="98190" y="72150"/>
                      </a:lnTo>
                      <a:lnTo>
                        <a:pt x="150711" y="75432"/>
                      </a:lnTo>
                      <a:lnTo>
                        <a:pt x="183943" y="75206"/>
                      </a:lnTo>
                      <a:lnTo>
                        <a:pt x="250062" y="68681"/>
                      </a:lnTo>
                      <a:lnTo>
                        <a:pt x="293496" y="57762"/>
                      </a:lnTo>
                      <a:lnTo>
                        <a:pt x="323722" y="27978"/>
                      </a:lnTo>
                      <a:lnTo>
                        <a:pt x="323611" y="27363"/>
                      </a:lnTo>
                      <a:lnTo>
                        <a:pt x="166862" y="27363"/>
                      </a:lnTo>
                      <a:lnTo>
                        <a:pt x="144587" y="27145"/>
                      </a:lnTo>
                      <a:lnTo>
                        <a:pt x="100724" y="24396"/>
                      </a:lnTo>
                      <a:lnTo>
                        <a:pt x="58239" y="18266"/>
                      </a:lnTo>
                      <a:lnTo>
                        <a:pt x="18891" y="7392"/>
                      </a:lnTo>
                      <a:lnTo>
                        <a:pt x="380" y="977"/>
                      </a:lnTo>
                      <a:close/>
                    </a:path>
                    <a:path w="323850" h="75564">
                      <a:moveTo>
                        <a:pt x="323468" y="0"/>
                      </a:moveTo>
                      <a:lnTo>
                        <a:pt x="319277" y="1816"/>
                      </a:lnTo>
                      <a:lnTo>
                        <a:pt x="315848" y="3492"/>
                      </a:lnTo>
                      <a:lnTo>
                        <a:pt x="312165" y="4889"/>
                      </a:lnTo>
                      <a:lnTo>
                        <a:pt x="263175" y="18772"/>
                      </a:lnTo>
                      <a:lnTo>
                        <a:pt x="211327" y="25311"/>
                      </a:lnTo>
                      <a:lnTo>
                        <a:pt x="166862" y="27363"/>
                      </a:lnTo>
                      <a:lnTo>
                        <a:pt x="323611" y="27363"/>
                      </a:lnTo>
                      <a:lnTo>
                        <a:pt x="323392" y="26149"/>
                      </a:lnTo>
                      <a:lnTo>
                        <a:pt x="323468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79" name="object 24">
                  <a:extLst>
                    <a:ext uri="{FF2B5EF4-FFF2-40B4-BE49-F238E27FC236}">
                      <a16:creationId xmlns:a16="http://schemas.microsoft.com/office/drawing/2014/main" id="{D015C58D-9A7A-4CFB-8204-0D6F7794AD2D}"/>
                    </a:ext>
                  </a:extLst>
                </p:cNvPr>
                <p:cNvSpPr/>
                <p:nvPr/>
              </p:nvSpPr>
              <p:spPr>
                <a:xfrm>
                  <a:off x="533636" y="4802149"/>
                  <a:ext cx="291267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850" h="75564">
                      <a:moveTo>
                        <a:pt x="245" y="253"/>
                      </a:moveTo>
                      <a:lnTo>
                        <a:pt x="118" y="888"/>
                      </a:lnTo>
                      <a:lnTo>
                        <a:pt x="0" y="27289"/>
                      </a:lnTo>
                      <a:lnTo>
                        <a:pt x="245" y="32892"/>
                      </a:lnTo>
                      <a:lnTo>
                        <a:pt x="39631" y="60669"/>
                      </a:lnTo>
                      <a:lnTo>
                        <a:pt x="90786" y="70915"/>
                      </a:lnTo>
                      <a:lnTo>
                        <a:pt x="148837" y="75085"/>
                      </a:lnTo>
                      <a:lnTo>
                        <a:pt x="178172" y="74968"/>
                      </a:lnTo>
                      <a:lnTo>
                        <a:pt x="221749" y="72259"/>
                      </a:lnTo>
                      <a:lnTo>
                        <a:pt x="264659" y="65455"/>
                      </a:lnTo>
                      <a:lnTo>
                        <a:pt x="311776" y="48513"/>
                      </a:lnTo>
                      <a:lnTo>
                        <a:pt x="323841" y="37591"/>
                      </a:lnTo>
                      <a:lnTo>
                        <a:pt x="323460" y="29971"/>
                      </a:lnTo>
                      <a:lnTo>
                        <a:pt x="323380" y="27289"/>
                      </a:lnTo>
                      <a:lnTo>
                        <a:pt x="154725" y="27289"/>
                      </a:lnTo>
                      <a:lnTo>
                        <a:pt x="124219" y="26160"/>
                      </a:lnTo>
                      <a:lnTo>
                        <a:pt x="69670" y="20242"/>
                      </a:lnTo>
                      <a:lnTo>
                        <a:pt x="23371" y="9261"/>
                      </a:lnTo>
                      <a:lnTo>
                        <a:pt x="1642" y="380"/>
                      </a:lnTo>
                      <a:lnTo>
                        <a:pt x="1007" y="380"/>
                      </a:lnTo>
                      <a:lnTo>
                        <a:pt x="245" y="253"/>
                      </a:lnTo>
                      <a:close/>
                    </a:path>
                    <a:path w="323850" h="75564">
                      <a:moveTo>
                        <a:pt x="322825" y="0"/>
                      </a:moveTo>
                      <a:lnTo>
                        <a:pt x="318507" y="1904"/>
                      </a:lnTo>
                      <a:lnTo>
                        <a:pt x="314443" y="3809"/>
                      </a:lnTo>
                      <a:lnTo>
                        <a:pt x="310379" y="5460"/>
                      </a:lnTo>
                      <a:lnTo>
                        <a:pt x="264326" y="18367"/>
                      </a:lnTo>
                      <a:lnTo>
                        <a:pt x="215891" y="24891"/>
                      </a:lnTo>
                      <a:lnTo>
                        <a:pt x="154725" y="27289"/>
                      </a:lnTo>
                      <a:lnTo>
                        <a:pt x="323380" y="27289"/>
                      </a:lnTo>
                      <a:lnTo>
                        <a:pt x="323260" y="23250"/>
                      </a:lnTo>
                      <a:lnTo>
                        <a:pt x="323079" y="1269"/>
                      </a:lnTo>
                      <a:lnTo>
                        <a:pt x="322825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80" name="object 25">
                  <a:extLst>
                    <a:ext uri="{FF2B5EF4-FFF2-40B4-BE49-F238E27FC236}">
                      <a16:creationId xmlns:a16="http://schemas.microsoft.com/office/drawing/2014/main" id="{B3D406BE-5546-4BDA-9265-F6E9886B12C3}"/>
                    </a:ext>
                  </a:extLst>
                </p:cNvPr>
                <p:cNvSpPr/>
                <p:nvPr/>
              </p:nvSpPr>
              <p:spPr>
                <a:xfrm>
                  <a:off x="533515" y="4869770"/>
                  <a:ext cx="290695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215" h="75564">
                      <a:moveTo>
                        <a:pt x="253" y="0"/>
                      </a:moveTo>
                      <a:lnTo>
                        <a:pt x="221" y="23735"/>
                      </a:lnTo>
                      <a:lnTo>
                        <a:pt x="0" y="28803"/>
                      </a:lnTo>
                      <a:lnTo>
                        <a:pt x="690" y="35276"/>
                      </a:lnTo>
                      <a:lnTo>
                        <a:pt x="33639" y="58778"/>
                      </a:lnTo>
                      <a:lnTo>
                        <a:pt x="86512" y="70442"/>
                      </a:lnTo>
                      <a:lnTo>
                        <a:pt x="151318" y="75218"/>
                      </a:lnTo>
                      <a:lnTo>
                        <a:pt x="184149" y="74828"/>
                      </a:lnTo>
                      <a:lnTo>
                        <a:pt x="228361" y="71596"/>
                      </a:lnTo>
                      <a:lnTo>
                        <a:pt x="271525" y="64058"/>
                      </a:lnTo>
                      <a:lnTo>
                        <a:pt x="311911" y="48526"/>
                      </a:lnTo>
                      <a:lnTo>
                        <a:pt x="322960" y="34823"/>
                      </a:lnTo>
                      <a:lnTo>
                        <a:pt x="323224" y="27458"/>
                      </a:lnTo>
                      <a:lnTo>
                        <a:pt x="158529" y="27458"/>
                      </a:lnTo>
                      <a:lnTo>
                        <a:pt x="127126" y="26428"/>
                      </a:lnTo>
                      <a:lnTo>
                        <a:pt x="94122" y="23735"/>
                      </a:lnTo>
                      <a:lnTo>
                        <a:pt x="61785" y="19034"/>
                      </a:lnTo>
                      <a:lnTo>
                        <a:pt x="30400" y="11423"/>
                      </a:lnTo>
                      <a:lnTo>
                        <a:pt x="253" y="0"/>
                      </a:lnTo>
                      <a:close/>
                    </a:path>
                    <a:path w="323215" h="75564">
                      <a:moveTo>
                        <a:pt x="323214" y="139"/>
                      </a:moveTo>
                      <a:lnTo>
                        <a:pt x="322198" y="558"/>
                      </a:lnTo>
                      <a:lnTo>
                        <a:pt x="321690" y="698"/>
                      </a:lnTo>
                      <a:lnTo>
                        <a:pt x="321309" y="838"/>
                      </a:lnTo>
                      <a:lnTo>
                        <a:pt x="270232" y="17397"/>
                      </a:lnTo>
                      <a:lnTo>
                        <a:pt x="221049" y="24699"/>
                      </a:lnTo>
                      <a:lnTo>
                        <a:pt x="158529" y="27458"/>
                      </a:lnTo>
                      <a:lnTo>
                        <a:pt x="323224" y="27458"/>
                      </a:lnTo>
                      <a:lnTo>
                        <a:pt x="323214" y="139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181" name="object 38">
                <a:extLst>
                  <a:ext uri="{FF2B5EF4-FFF2-40B4-BE49-F238E27FC236}">
                    <a16:creationId xmlns:a16="http://schemas.microsoft.com/office/drawing/2014/main" id="{A8D43131-FC8B-454E-9E1E-B7FB1B0F00C0}"/>
                  </a:ext>
                </a:extLst>
              </p:cNvPr>
              <p:cNvSpPr txBox="1"/>
              <p:nvPr/>
            </p:nvSpPr>
            <p:spPr>
              <a:xfrm>
                <a:off x="4783054" y="5705128"/>
                <a:ext cx="826208" cy="136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algn="ctr">
                  <a:lnSpc>
                    <a:spcPts val="982"/>
                  </a:lnSpc>
                </a:pPr>
                <a:r>
                  <a:rPr lang="en-US" sz="1200" spc="-4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edical</a:t>
                </a:r>
                <a:endParaRPr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EC9D929B-E838-4A16-ACB4-4FEA170A4DB1}"/>
                  </a:ext>
                </a:extLst>
              </p:cNvPr>
              <p:cNvGrpSpPr/>
              <p:nvPr/>
            </p:nvGrpSpPr>
            <p:grpSpPr>
              <a:xfrm>
                <a:off x="6527644" y="5297974"/>
                <a:ext cx="291503" cy="287301"/>
                <a:chOff x="533400" y="4724400"/>
                <a:chExt cx="291503" cy="287301"/>
              </a:xfrm>
            </p:grpSpPr>
            <p:sp>
              <p:nvSpPr>
                <p:cNvPr id="183" name="object 22">
                  <a:extLst>
                    <a:ext uri="{FF2B5EF4-FFF2-40B4-BE49-F238E27FC236}">
                      <a16:creationId xmlns:a16="http://schemas.microsoft.com/office/drawing/2014/main" id="{61E9337E-732F-46E8-B4E2-BE435D145054}"/>
                    </a:ext>
                  </a:extLst>
                </p:cNvPr>
                <p:cNvSpPr/>
                <p:nvPr/>
              </p:nvSpPr>
              <p:spPr>
                <a:xfrm>
                  <a:off x="533687" y="4724400"/>
                  <a:ext cx="290695" cy="841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215" h="85725">
                      <a:moveTo>
                        <a:pt x="161480" y="0"/>
                      </a:moveTo>
                      <a:lnTo>
                        <a:pt x="102290" y="3103"/>
                      </a:lnTo>
                      <a:lnTo>
                        <a:pt x="60396" y="9469"/>
                      </a:lnTo>
                      <a:lnTo>
                        <a:pt x="22542" y="20907"/>
                      </a:lnTo>
                      <a:lnTo>
                        <a:pt x="0" y="43275"/>
                      </a:lnTo>
                      <a:lnTo>
                        <a:pt x="2159" y="49903"/>
                      </a:lnTo>
                      <a:lnTo>
                        <a:pt x="42687" y="71620"/>
                      </a:lnTo>
                      <a:lnTo>
                        <a:pt x="94551" y="81407"/>
                      </a:lnTo>
                      <a:lnTo>
                        <a:pt x="146224" y="85137"/>
                      </a:lnTo>
                      <a:lnTo>
                        <a:pt x="172186" y="85211"/>
                      </a:lnTo>
                      <a:lnTo>
                        <a:pt x="198183" y="84201"/>
                      </a:lnTo>
                      <a:lnTo>
                        <a:pt x="239950" y="80089"/>
                      </a:lnTo>
                      <a:lnTo>
                        <a:pt x="280479" y="71501"/>
                      </a:lnTo>
                      <a:lnTo>
                        <a:pt x="321057" y="49746"/>
                      </a:lnTo>
                      <a:lnTo>
                        <a:pt x="323135" y="43164"/>
                      </a:lnTo>
                      <a:lnTo>
                        <a:pt x="321474" y="36558"/>
                      </a:lnTo>
                      <a:lnTo>
                        <a:pt x="279800" y="13626"/>
                      </a:lnTo>
                      <a:lnTo>
                        <a:pt x="216360" y="2587"/>
                      </a:lnTo>
                      <a:lnTo>
                        <a:pt x="161480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84" name="object 23">
                  <a:extLst>
                    <a:ext uri="{FF2B5EF4-FFF2-40B4-BE49-F238E27FC236}">
                      <a16:creationId xmlns:a16="http://schemas.microsoft.com/office/drawing/2014/main" id="{67C16E65-7E70-4C1F-953F-C34C3F459774}"/>
                    </a:ext>
                  </a:extLst>
                </p:cNvPr>
                <p:cNvSpPr/>
                <p:nvPr/>
              </p:nvSpPr>
              <p:spPr>
                <a:xfrm>
                  <a:off x="533400" y="4937564"/>
                  <a:ext cx="291267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850" h="75564">
                      <a:moveTo>
                        <a:pt x="380" y="977"/>
                      </a:moveTo>
                      <a:lnTo>
                        <a:pt x="376" y="25311"/>
                      </a:lnTo>
                      <a:lnTo>
                        <a:pt x="253" y="30352"/>
                      </a:lnTo>
                      <a:lnTo>
                        <a:pt x="0" y="37769"/>
                      </a:lnTo>
                      <a:lnTo>
                        <a:pt x="4063" y="43357"/>
                      </a:lnTo>
                      <a:lnTo>
                        <a:pt x="42290" y="61544"/>
                      </a:lnTo>
                      <a:lnTo>
                        <a:pt x="98190" y="72150"/>
                      </a:lnTo>
                      <a:lnTo>
                        <a:pt x="150711" y="75432"/>
                      </a:lnTo>
                      <a:lnTo>
                        <a:pt x="183943" y="75206"/>
                      </a:lnTo>
                      <a:lnTo>
                        <a:pt x="250062" y="68681"/>
                      </a:lnTo>
                      <a:lnTo>
                        <a:pt x="293496" y="57762"/>
                      </a:lnTo>
                      <a:lnTo>
                        <a:pt x="323722" y="27978"/>
                      </a:lnTo>
                      <a:lnTo>
                        <a:pt x="323611" y="27363"/>
                      </a:lnTo>
                      <a:lnTo>
                        <a:pt x="166862" y="27363"/>
                      </a:lnTo>
                      <a:lnTo>
                        <a:pt x="144587" y="27145"/>
                      </a:lnTo>
                      <a:lnTo>
                        <a:pt x="100724" y="24396"/>
                      </a:lnTo>
                      <a:lnTo>
                        <a:pt x="58239" y="18266"/>
                      </a:lnTo>
                      <a:lnTo>
                        <a:pt x="18891" y="7392"/>
                      </a:lnTo>
                      <a:lnTo>
                        <a:pt x="380" y="977"/>
                      </a:lnTo>
                      <a:close/>
                    </a:path>
                    <a:path w="323850" h="75564">
                      <a:moveTo>
                        <a:pt x="323468" y="0"/>
                      </a:moveTo>
                      <a:lnTo>
                        <a:pt x="319277" y="1816"/>
                      </a:lnTo>
                      <a:lnTo>
                        <a:pt x="315848" y="3492"/>
                      </a:lnTo>
                      <a:lnTo>
                        <a:pt x="312165" y="4889"/>
                      </a:lnTo>
                      <a:lnTo>
                        <a:pt x="263175" y="18772"/>
                      </a:lnTo>
                      <a:lnTo>
                        <a:pt x="211327" y="25311"/>
                      </a:lnTo>
                      <a:lnTo>
                        <a:pt x="166862" y="27363"/>
                      </a:lnTo>
                      <a:lnTo>
                        <a:pt x="323611" y="27363"/>
                      </a:lnTo>
                      <a:lnTo>
                        <a:pt x="323392" y="26149"/>
                      </a:lnTo>
                      <a:lnTo>
                        <a:pt x="323468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85" name="object 24">
                  <a:extLst>
                    <a:ext uri="{FF2B5EF4-FFF2-40B4-BE49-F238E27FC236}">
                      <a16:creationId xmlns:a16="http://schemas.microsoft.com/office/drawing/2014/main" id="{ACB076B8-C266-49BD-9F44-12927E5084F2}"/>
                    </a:ext>
                  </a:extLst>
                </p:cNvPr>
                <p:cNvSpPr/>
                <p:nvPr/>
              </p:nvSpPr>
              <p:spPr>
                <a:xfrm>
                  <a:off x="533636" y="4802149"/>
                  <a:ext cx="291267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850" h="75564">
                      <a:moveTo>
                        <a:pt x="245" y="253"/>
                      </a:moveTo>
                      <a:lnTo>
                        <a:pt x="118" y="888"/>
                      </a:lnTo>
                      <a:lnTo>
                        <a:pt x="0" y="27289"/>
                      </a:lnTo>
                      <a:lnTo>
                        <a:pt x="245" y="32892"/>
                      </a:lnTo>
                      <a:lnTo>
                        <a:pt x="39631" y="60669"/>
                      </a:lnTo>
                      <a:lnTo>
                        <a:pt x="90786" y="70915"/>
                      </a:lnTo>
                      <a:lnTo>
                        <a:pt x="148837" y="75085"/>
                      </a:lnTo>
                      <a:lnTo>
                        <a:pt x="178172" y="74968"/>
                      </a:lnTo>
                      <a:lnTo>
                        <a:pt x="221749" y="72259"/>
                      </a:lnTo>
                      <a:lnTo>
                        <a:pt x="264659" y="65455"/>
                      </a:lnTo>
                      <a:lnTo>
                        <a:pt x="311776" y="48513"/>
                      </a:lnTo>
                      <a:lnTo>
                        <a:pt x="323841" y="37591"/>
                      </a:lnTo>
                      <a:lnTo>
                        <a:pt x="323460" y="29971"/>
                      </a:lnTo>
                      <a:lnTo>
                        <a:pt x="323380" y="27289"/>
                      </a:lnTo>
                      <a:lnTo>
                        <a:pt x="154725" y="27289"/>
                      </a:lnTo>
                      <a:lnTo>
                        <a:pt x="124219" y="26160"/>
                      </a:lnTo>
                      <a:lnTo>
                        <a:pt x="69670" y="20242"/>
                      </a:lnTo>
                      <a:lnTo>
                        <a:pt x="23371" y="9261"/>
                      </a:lnTo>
                      <a:lnTo>
                        <a:pt x="1642" y="380"/>
                      </a:lnTo>
                      <a:lnTo>
                        <a:pt x="1007" y="380"/>
                      </a:lnTo>
                      <a:lnTo>
                        <a:pt x="245" y="253"/>
                      </a:lnTo>
                      <a:close/>
                    </a:path>
                    <a:path w="323850" h="75564">
                      <a:moveTo>
                        <a:pt x="322825" y="0"/>
                      </a:moveTo>
                      <a:lnTo>
                        <a:pt x="318507" y="1904"/>
                      </a:lnTo>
                      <a:lnTo>
                        <a:pt x="314443" y="3809"/>
                      </a:lnTo>
                      <a:lnTo>
                        <a:pt x="310379" y="5460"/>
                      </a:lnTo>
                      <a:lnTo>
                        <a:pt x="264326" y="18367"/>
                      </a:lnTo>
                      <a:lnTo>
                        <a:pt x="215891" y="24891"/>
                      </a:lnTo>
                      <a:lnTo>
                        <a:pt x="154725" y="27289"/>
                      </a:lnTo>
                      <a:lnTo>
                        <a:pt x="323380" y="27289"/>
                      </a:lnTo>
                      <a:lnTo>
                        <a:pt x="323260" y="23250"/>
                      </a:lnTo>
                      <a:lnTo>
                        <a:pt x="323079" y="1269"/>
                      </a:lnTo>
                      <a:lnTo>
                        <a:pt x="322825" y="0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86" name="object 25">
                  <a:extLst>
                    <a:ext uri="{FF2B5EF4-FFF2-40B4-BE49-F238E27FC236}">
                      <a16:creationId xmlns:a16="http://schemas.microsoft.com/office/drawing/2014/main" id="{7DA67D56-1F5B-4705-99FA-B27E85E9C510}"/>
                    </a:ext>
                  </a:extLst>
                </p:cNvPr>
                <p:cNvSpPr/>
                <p:nvPr/>
              </p:nvSpPr>
              <p:spPr>
                <a:xfrm>
                  <a:off x="533515" y="4869770"/>
                  <a:ext cx="290695" cy="741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215" h="75564">
                      <a:moveTo>
                        <a:pt x="253" y="0"/>
                      </a:moveTo>
                      <a:lnTo>
                        <a:pt x="221" y="23735"/>
                      </a:lnTo>
                      <a:lnTo>
                        <a:pt x="0" y="28803"/>
                      </a:lnTo>
                      <a:lnTo>
                        <a:pt x="690" y="35276"/>
                      </a:lnTo>
                      <a:lnTo>
                        <a:pt x="33639" y="58778"/>
                      </a:lnTo>
                      <a:lnTo>
                        <a:pt x="86512" y="70442"/>
                      </a:lnTo>
                      <a:lnTo>
                        <a:pt x="151318" y="75218"/>
                      </a:lnTo>
                      <a:lnTo>
                        <a:pt x="184149" y="74828"/>
                      </a:lnTo>
                      <a:lnTo>
                        <a:pt x="228361" y="71596"/>
                      </a:lnTo>
                      <a:lnTo>
                        <a:pt x="271525" y="64058"/>
                      </a:lnTo>
                      <a:lnTo>
                        <a:pt x="311911" y="48526"/>
                      </a:lnTo>
                      <a:lnTo>
                        <a:pt x="322960" y="34823"/>
                      </a:lnTo>
                      <a:lnTo>
                        <a:pt x="323224" y="27458"/>
                      </a:lnTo>
                      <a:lnTo>
                        <a:pt x="158529" y="27458"/>
                      </a:lnTo>
                      <a:lnTo>
                        <a:pt x="127126" y="26428"/>
                      </a:lnTo>
                      <a:lnTo>
                        <a:pt x="94122" y="23735"/>
                      </a:lnTo>
                      <a:lnTo>
                        <a:pt x="61785" y="19034"/>
                      </a:lnTo>
                      <a:lnTo>
                        <a:pt x="30400" y="11423"/>
                      </a:lnTo>
                      <a:lnTo>
                        <a:pt x="253" y="0"/>
                      </a:lnTo>
                      <a:close/>
                    </a:path>
                    <a:path w="323215" h="75564">
                      <a:moveTo>
                        <a:pt x="323214" y="139"/>
                      </a:moveTo>
                      <a:lnTo>
                        <a:pt x="322198" y="558"/>
                      </a:lnTo>
                      <a:lnTo>
                        <a:pt x="321690" y="698"/>
                      </a:lnTo>
                      <a:lnTo>
                        <a:pt x="321309" y="838"/>
                      </a:lnTo>
                      <a:lnTo>
                        <a:pt x="270232" y="17397"/>
                      </a:lnTo>
                      <a:lnTo>
                        <a:pt x="221049" y="24699"/>
                      </a:lnTo>
                      <a:lnTo>
                        <a:pt x="158529" y="27458"/>
                      </a:lnTo>
                      <a:lnTo>
                        <a:pt x="323224" y="27458"/>
                      </a:lnTo>
                      <a:lnTo>
                        <a:pt x="323214" y="139"/>
                      </a:lnTo>
                      <a:close/>
                    </a:path>
                  </a:pathLst>
                </a:custGeom>
                <a:solidFill>
                  <a:srgbClr val="4D4E52"/>
                </a:solidFill>
              </p:spPr>
              <p:txBody>
                <a:bodyPr wrap="square" lIns="0" tIns="0" rIns="0" bIns="0" rtlCol="0"/>
                <a:lstStyle/>
                <a:p>
                  <a:pPr>
                    <a:defRPr/>
                  </a:pPr>
                  <a:endParaRPr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187" name="object 38">
                <a:extLst>
                  <a:ext uri="{FF2B5EF4-FFF2-40B4-BE49-F238E27FC236}">
                    <a16:creationId xmlns:a16="http://schemas.microsoft.com/office/drawing/2014/main" id="{9993F3DB-0A18-4384-B49C-710710DD6474}"/>
                  </a:ext>
                </a:extLst>
              </p:cNvPr>
              <p:cNvSpPr txBox="1"/>
              <p:nvPr/>
            </p:nvSpPr>
            <p:spPr>
              <a:xfrm>
                <a:off x="6271574" y="5703308"/>
                <a:ext cx="826208" cy="136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algn="ctr">
                  <a:lnSpc>
                    <a:spcPts val="982"/>
                  </a:lnSpc>
                </a:pPr>
                <a:r>
                  <a:rPr lang="en-US" sz="1200" spc="-4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ther Data</a:t>
                </a:r>
                <a:endParaRPr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229" name="Group 228">
                <a:extLst>
                  <a:ext uri="{FF2B5EF4-FFF2-40B4-BE49-F238E27FC236}">
                    <a16:creationId xmlns:a16="http://schemas.microsoft.com/office/drawing/2014/main" id="{B93A395E-7734-401B-BF07-140D12734D94}"/>
                  </a:ext>
                </a:extLst>
              </p:cNvPr>
              <p:cNvGrpSpPr/>
              <p:nvPr/>
            </p:nvGrpSpPr>
            <p:grpSpPr>
              <a:xfrm>
                <a:off x="2619369" y="4308353"/>
                <a:ext cx="370991" cy="415392"/>
                <a:chOff x="295480" y="3220870"/>
                <a:chExt cx="282299" cy="308446"/>
              </a:xfrm>
            </p:grpSpPr>
            <p:sp>
              <p:nvSpPr>
                <p:cNvPr id="223" name="Freeform 285">
                  <a:extLst>
                    <a:ext uri="{FF2B5EF4-FFF2-40B4-BE49-F238E27FC236}">
                      <a16:creationId xmlns:a16="http://schemas.microsoft.com/office/drawing/2014/main" id="{B7558187-E515-144B-A4F1-A6C49E8E41DD}"/>
                    </a:ext>
                  </a:extLst>
                </p:cNvPr>
                <p:cNvSpPr/>
                <p:nvPr/>
              </p:nvSpPr>
              <p:spPr>
                <a:xfrm>
                  <a:off x="295480" y="3246574"/>
                  <a:ext cx="206800" cy="207271"/>
                </a:xfrm>
                <a:custGeom>
                  <a:avLst/>
                  <a:gdLst>
                    <a:gd name="connsiteX0" fmla="*/ 105227 w 206801"/>
                    <a:gd name="connsiteY0" fmla="*/ 198849 h 207271"/>
                    <a:gd name="connsiteX1" fmla="*/ 11127 w 206801"/>
                    <a:gd name="connsiteY1" fmla="*/ 104784 h 207271"/>
                    <a:gd name="connsiteX2" fmla="*/ 105227 w 206801"/>
                    <a:gd name="connsiteY2" fmla="*/ 10719 h 207271"/>
                    <a:gd name="connsiteX3" fmla="*/ 199327 w 206801"/>
                    <a:gd name="connsiteY3" fmla="*/ 104784 h 207271"/>
                    <a:gd name="connsiteX4" fmla="*/ 105227 w 206801"/>
                    <a:gd name="connsiteY4" fmla="*/ 198849 h 207271"/>
                    <a:gd name="connsiteX5" fmla="*/ 105227 w 206801"/>
                    <a:gd name="connsiteY5" fmla="*/ 875 h 207271"/>
                    <a:gd name="connsiteX6" fmla="*/ 1826 w 206801"/>
                    <a:gd name="connsiteY6" fmla="*/ 104784 h 207271"/>
                    <a:gd name="connsiteX7" fmla="*/ 105227 w 206801"/>
                    <a:gd name="connsiteY7" fmla="*/ 208146 h 207271"/>
                    <a:gd name="connsiteX8" fmla="*/ 208628 w 206801"/>
                    <a:gd name="connsiteY8" fmla="*/ 104784 h 207271"/>
                    <a:gd name="connsiteX9" fmla="*/ 105227 w 206801"/>
                    <a:gd name="connsiteY9" fmla="*/ 875 h 207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6801" h="207271">
                      <a:moveTo>
                        <a:pt x="105227" y="198849"/>
                      </a:moveTo>
                      <a:cubicBezTo>
                        <a:pt x="53253" y="198849"/>
                        <a:pt x="11127" y="156739"/>
                        <a:pt x="11127" y="104784"/>
                      </a:cubicBezTo>
                      <a:cubicBezTo>
                        <a:pt x="11127" y="52830"/>
                        <a:pt x="53253" y="10719"/>
                        <a:pt x="105227" y="10719"/>
                      </a:cubicBezTo>
                      <a:cubicBezTo>
                        <a:pt x="157201" y="10719"/>
                        <a:pt x="199327" y="52830"/>
                        <a:pt x="199327" y="104784"/>
                      </a:cubicBezTo>
                      <a:cubicBezTo>
                        <a:pt x="199327" y="156739"/>
                        <a:pt x="157201" y="198849"/>
                        <a:pt x="105227" y="198849"/>
                      </a:cubicBezTo>
                      <a:moveTo>
                        <a:pt x="105227" y="875"/>
                      </a:moveTo>
                      <a:cubicBezTo>
                        <a:pt x="47782" y="875"/>
                        <a:pt x="1826" y="47361"/>
                        <a:pt x="1826" y="104784"/>
                      </a:cubicBezTo>
                      <a:cubicBezTo>
                        <a:pt x="1826" y="162208"/>
                        <a:pt x="48329" y="208146"/>
                        <a:pt x="105227" y="208146"/>
                      </a:cubicBezTo>
                      <a:cubicBezTo>
                        <a:pt x="162672" y="208146"/>
                        <a:pt x="208628" y="161661"/>
                        <a:pt x="208628" y="104784"/>
                      </a:cubicBezTo>
                      <a:cubicBezTo>
                        <a:pt x="208628" y="47361"/>
                        <a:pt x="162672" y="875"/>
                        <a:pt x="105227" y="875"/>
                      </a:cubicBezTo>
                    </a:path>
                  </a:pathLst>
                </a:custGeom>
                <a:solidFill>
                  <a:schemeClr val="accent2"/>
                </a:solidFill>
                <a:ln w="10941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4" name="Freeform 286">
                  <a:extLst>
                    <a:ext uri="{FF2B5EF4-FFF2-40B4-BE49-F238E27FC236}">
                      <a16:creationId xmlns:a16="http://schemas.microsoft.com/office/drawing/2014/main" id="{06FECEEC-E63C-4F46-8022-6E505CD45581}"/>
                    </a:ext>
                  </a:extLst>
                </p:cNvPr>
                <p:cNvSpPr/>
                <p:nvPr/>
              </p:nvSpPr>
              <p:spPr>
                <a:xfrm>
                  <a:off x="483679" y="3435251"/>
                  <a:ext cx="94100" cy="94065"/>
                </a:xfrm>
                <a:custGeom>
                  <a:avLst/>
                  <a:gdLst>
                    <a:gd name="connsiteX0" fmla="*/ 30275 w 94100"/>
                    <a:gd name="connsiteY0" fmla="*/ 875 h 94065"/>
                    <a:gd name="connsiteX1" fmla="*/ 1826 w 94100"/>
                    <a:gd name="connsiteY1" fmla="*/ 29313 h 94065"/>
                    <a:gd name="connsiteX2" fmla="*/ 68025 w 94100"/>
                    <a:gd name="connsiteY2" fmla="*/ 94940 h 94065"/>
                    <a:gd name="connsiteX3" fmla="*/ 95926 w 94100"/>
                    <a:gd name="connsiteY3" fmla="*/ 67049 h 94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4100" h="94065">
                      <a:moveTo>
                        <a:pt x="30275" y="875"/>
                      </a:moveTo>
                      <a:lnTo>
                        <a:pt x="1826" y="29313"/>
                      </a:lnTo>
                      <a:lnTo>
                        <a:pt x="68025" y="94940"/>
                      </a:lnTo>
                      <a:lnTo>
                        <a:pt x="95926" y="6704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5470" cap="flat">
                  <a:noFill/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5" name="Freeform 287">
                  <a:extLst>
                    <a:ext uri="{FF2B5EF4-FFF2-40B4-BE49-F238E27FC236}">
                      <a16:creationId xmlns:a16="http://schemas.microsoft.com/office/drawing/2014/main" id="{FFD4C140-80FD-494A-B4B2-5413AE1362DB}"/>
                    </a:ext>
                  </a:extLst>
                </p:cNvPr>
                <p:cNvSpPr/>
                <p:nvPr/>
              </p:nvSpPr>
              <p:spPr>
                <a:xfrm>
                  <a:off x="474379" y="3425954"/>
                  <a:ext cx="18601" cy="18594"/>
                </a:xfrm>
                <a:custGeom>
                  <a:avLst/>
                  <a:gdLst>
                    <a:gd name="connsiteX0" fmla="*/ 20428 w 18601"/>
                    <a:gd name="connsiteY0" fmla="*/ 10172 h 18594"/>
                    <a:gd name="connsiteX1" fmla="*/ 11127 w 18601"/>
                    <a:gd name="connsiteY1" fmla="*/ 875 h 18594"/>
                    <a:gd name="connsiteX2" fmla="*/ 1826 w 18601"/>
                    <a:gd name="connsiteY2" fmla="*/ 10172 h 18594"/>
                    <a:gd name="connsiteX3" fmla="*/ 11127 w 18601"/>
                    <a:gd name="connsiteY3" fmla="*/ 19469 h 18594"/>
                    <a:gd name="connsiteX4" fmla="*/ 20428 w 18601"/>
                    <a:gd name="connsiteY4" fmla="*/ 10172 h 18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601" h="18594">
                      <a:moveTo>
                        <a:pt x="20428" y="10172"/>
                      </a:moveTo>
                      <a:cubicBezTo>
                        <a:pt x="20428" y="4703"/>
                        <a:pt x="16051" y="875"/>
                        <a:pt x="11127" y="875"/>
                      </a:cubicBezTo>
                      <a:cubicBezTo>
                        <a:pt x="6203" y="875"/>
                        <a:pt x="1826" y="5250"/>
                        <a:pt x="1826" y="10172"/>
                      </a:cubicBezTo>
                      <a:cubicBezTo>
                        <a:pt x="1826" y="15641"/>
                        <a:pt x="6203" y="19469"/>
                        <a:pt x="11127" y="19469"/>
                      </a:cubicBezTo>
                      <a:cubicBezTo>
                        <a:pt x="16051" y="19469"/>
                        <a:pt x="20428" y="15094"/>
                        <a:pt x="20428" y="10172"/>
                      </a:cubicBezTo>
                    </a:path>
                  </a:pathLst>
                </a:custGeom>
                <a:solidFill>
                  <a:schemeClr val="accent2"/>
                </a:solidFill>
                <a:ln w="547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6" name="Freeform 288">
                  <a:extLst>
                    <a:ext uri="{FF2B5EF4-FFF2-40B4-BE49-F238E27FC236}">
                      <a16:creationId xmlns:a16="http://schemas.microsoft.com/office/drawing/2014/main" id="{070A6B2A-6DE9-194C-95C0-3DBC61A1D9B5}"/>
                    </a:ext>
                  </a:extLst>
                </p:cNvPr>
                <p:cNvSpPr/>
                <p:nvPr/>
              </p:nvSpPr>
              <p:spPr>
                <a:xfrm>
                  <a:off x="360577" y="3220870"/>
                  <a:ext cx="137874" cy="137816"/>
                </a:xfrm>
                <a:custGeom>
                  <a:avLst/>
                  <a:gdLst>
                    <a:gd name="connsiteX0" fmla="*/ 70767 w 137874"/>
                    <a:gd name="connsiteY0" fmla="*/ 875 h 137816"/>
                    <a:gd name="connsiteX1" fmla="*/ 139701 w 137874"/>
                    <a:gd name="connsiteY1" fmla="*/ 69783 h 137816"/>
                    <a:gd name="connsiteX2" fmla="*/ 70767 w 137874"/>
                    <a:gd name="connsiteY2" fmla="*/ 138691 h 137816"/>
                    <a:gd name="connsiteX3" fmla="*/ 1833 w 137874"/>
                    <a:gd name="connsiteY3" fmla="*/ 69783 h 137816"/>
                    <a:gd name="connsiteX4" fmla="*/ 70767 w 137874"/>
                    <a:gd name="connsiteY4" fmla="*/ 875 h 137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7874" h="137816">
                      <a:moveTo>
                        <a:pt x="70767" y="875"/>
                      </a:moveTo>
                      <a:cubicBezTo>
                        <a:pt x="109064" y="875"/>
                        <a:pt x="139701" y="32048"/>
                        <a:pt x="139701" y="69783"/>
                      </a:cubicBezTo>
                      <a:cubicBezTo>
                        <a:pt x="139701" y="108065"/>
                        <a:pt x="108517" y="138691"/>
                        <a:pt x="70767" y="138691"/>
                      </a:cubicBezTo>
                      <a:cubicBezTo>
                        <a:pt x="32471" y="138691"/>
                        <a:pt x="1833" y="107519"/>
                        <a:pt x="1833" y="69783"/>
                      </a:cubicBezTo>
                      <a:cubicBezTo>
                        <a:pt x="1286" y="32048"/>
                        <a:pt x="32471" y="875"/>
                        <a:pt x="70767" y="875"/>
                      </a:cubicBezTo>
                    </a:path>
                  </a:pathLst>
                </a:custGeom>
                <a:solidFill>
                  <a:srgbClr val="FEFEFE"/>
                </a:solidFill>
                <a:ln w="547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7" name="Freeform 289">
                  <a:extLst>
                    <a:ext uri="{FF2B5EF4-FFF2-40B4-BE49-F238E27FC236}">
                      <a16:creationId xmlns:a16="http://schemas.microsoft.com/office/drawing/2014/main" id="{99733850-B2CE-9347-A387-CDEBC533E572}"/>
                    </a:ext>
                  </a:extLst>
                </p:cNvPr>
                <p:cNvSpPr/>
                <p:nvPr/>
              </p:nvSpPr>
              <p:spPr>
                <a:xfrm>
                  <a:off x="360577" y="3220870"/>
                  <a:ext cx="137874" cy="137816"/>
                </a:xfrm>
                <a:custGeom>
                  <a:avLst/>
                  <a:gdLst>
                    <a:gd name="connsiteX0" fmla="*/ 70767 w 137874"/>
                    <a:gd name="connsiteY0" fmla="*/ 875 h 137816"/>
                    <a:gd name="connsiteX1" fmla="*/ 139701 w 137874"/>
                    <a:gd name="connsiteY1" fmla="*/ 69783 h 137816"/>
                    <a:gd name="connsiteX2" fmla="*/ 70767 w 137874"/>
                    <a:gd name="connsiteY2" fmla="*/ 138691 h 137816"/>
                    <a:gd name="connsiteX3" fmla="*/ 1833 w 137874"/>
                    <a:gd name="connsiteY3" fmla="*/ 69783 h 137816"/>
                    <a:gd name="connsiteX4" fmla="*/ 70767 w 137874"/>
                    <a:gd name="connsiteY4" fmla="*/ 875 h 137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7874" h="137816">
                      <a:moveTo>
                        <a:pt x="70767" y="875"/>
                      </a:moveTo>
                      <a:cubicBezTo>
                        <a:pt x="109064" y="875"/>
                        <a:pt x="139701" y="32048"/>
                        <a:pt x="139701" y="69783"/>
                      </a:cubicBezTo>
                      <a:cubicBezTo>
                        <a:pt x="139701" y="108065"/>
                        <a:pt x="108517" y="138691"/>
                        <a:pt x="70767" y="138691"/>
                      </a:cubicBezTo>
                      <a:cubicBezTo>
                        <a:pt x="32471" y="138691"/>
                        <a:pt x="1833" y="107519"/>
                        <a:pt x="1833" y="69783"/>
                      </a:cubicBezTo>
                      <a:cubicBezTo>
                        <a:pt x="1286" y="32048"/>
                        <a:pt x="32471" y="875"/>
                        <a:pt x="70767" y="875"/>
                      </a:cubicBezTo>
                      <a:close/>
                    </a:path>
                  </a:pathLst>
                </a:custGeom>
                <a:noFill/>
                <a:ln w="12541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8" name="Freeform 290">
                  <a:extLst>
                    <a:ext uri="{FF2B5EF4-FFF2-40B4-BE49-F238E27FC236}">
                      <a16:creationId xmlns:a16="http://schemas.microsoft.com/office/drawing/2014/main" id="{699F9344-E00A-E844-A8F5-4A38A26C6C8F}"/>
                    </a:ext>
                  </a:extLst>
                </p:cNvPr>
                <p:cNvSpPr/>
                <p:nvPr/>
              </p:nvSpPr>
              <p:spPr>
                <a:xfrm>
                  <a:off x="392176" y="3257297"/>
                  <a:ext cx="85929" cy="70900"/>
                </a:xfrm>
                <a:custGeom>
                  <a:avLst/>
                  <a:gdLst>
                    <a:gd name="connsiteX0" fmla="*/ 27132 w 85929"/>
                    <a:gd name="connsiteY0" fmla="*/ 61248 h 70900"/>
                    <a:gd name="connsiteX1" fmla="*/ 35886 w 85929"/>
                    <a:gd name="connsiteY1" fmla="*/ 51404 h 70900"/>
                    <a:gd name="connsiteX2" fmla="*/ 79106 w 85929"/>
                    <a:gd name="connsiteY2" fmla="*/ 3825 h 70900"/>
                    <a:gd name="connsiteX3" fmla="*/ 80200 w 85929"/>
                    <a:gd name="connsiteY3" fmla="*/ 2184 h 70900"/>
                    <a:gd name="connsiteX4" fmla="*/ 86218 w 85929"/>
                    <a:gd name="connsiteY4" fmla="*/ 1637 h 70900"/>
                    <a:gd name="connsiteX5" fmla="*/ 86765 w 85929"/>
                    <a:gd name="connsiteY5" fmla="*/ 7653 h 70900"/>
                    <a:gd name="connsiteX6" fmla="*/ 80747 w 85929"/>
                    <a:gd name="connsiteY6" fmla="*/ 14216 h 70900"/>
                    <a:gd name="connsiteX7" fmla="*/ 31509 w 85929"/>
                    <a:gd name="connsiteY7" fmla="*/ 68905 h 70900"/>
                    <a:gd name="connsiteX8" fmla="*/ 22755 w 85929"/>
                    <a:gd name="connsiteY8" fmla="*/ 68905 h 70900"/>
                    <a:gd name="connsiteX9" fmla="*/ 3607 w 85929"/>
                    <a:gd name="connsiteY9" fmla="*/ 45935 h 70900"/>
                    <a:gd name="connsiteX10" fmla="*/ 1966 w 85929"/>
                    <a:gd name="connsiteY10" fmla="*/ 42654 h 70900"/>
                    <a:gd name="connsiteX11" fmla="*/ 4701 w 85929"/>
                    <a:gd name="connsiteY11" fmla="*/ 38279 h 70900"/>
                    <a:gd name="connsiteX12" fmla="*/ 9625 w 85929"/>
                    <a:gd name="connsiteY12" fmla="*/ 39920 h 70900"/>
                    <a:gd name="connsiteX13" fmla="*/ 19473 w 85929"/>
                    <a:gd name="connsiteY13" fmla="*/ 51404 h 70900"/>
                    <a:gd name="connsiteX14" fmla="*/ 27132 w 85929"/>
                    <a:gd name="connsiteY14" fmla="*/ 61248 h 70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5929" h="70900">
                      <a:moveTo>
                        <a:pt x="27132" y="61248"/>
                      </a:moveTo>
                      <a:cubicBezTo>
                        <a:pt x="30415" y="57967"/>
                        <a:pt x="33150" y="54686"/>
                        <a:pt x="35886" y="51404"/>
                      </a:cubicBezTo>
                      <a:cubicBezTo>
                        <a:pt x="50110" y="35544"/>
                        <a:pt x="64881" y="19685"/>
                        <a:pt x="79106" y="3825"/>
                      </a:cubicBezTo>
                      <a:cubicBezTo>
                        <a:pt x="79653" y="3278"/>
                        <a:pt x="79653" y="2731"/>
                        <a:pt x="80200" y="2184"/>
                      </a:cubicBezTo>
                      <a:cubicBezTo>
                        <a:pt x="81841" y="544"/>
                        <a:pt x="84577" y="544"/>
                        <a:pt x="86218" y="1637"/>
                      </a:cubicBezTo>
                      <a:cubicBezTo>
                        <a:pt x="87859" y="3278"/>
                        <a:pt x="88406" y="5466"/>
                        <a:pt x="86765" y="7653"/>
                      </a:cubicBezTo>
                      <a:cubicBezTo>
                        <a:pt x="85124" y="9841"/>
                        <a:pt x="82936" y="12028"/>
                        <a:pt x="80747" y="14216"/>
                      </a:cubicBezTo>
                      <a:cubicBezTo>
                        <a:pt x="64334" y="32263"/>
                        <a:pt x="47922" y="50311"/>
                        <a:pt x="31509" y="68905"/>
                      </a:cubicBezTo>
                      <a:cubicBezTo>
                        <a:pt x="28226" y="72733"/>
                        <a:pt x="26038" y="72733"/>
                        <a:pt x="22755" y="68905"/>
                      </a:cubicBezTo>
                      <a:cubicBezTo>
                        <a:pt x="16190" y="61248"/>
                        <a:pt x="9625" y="53592"/>
                        <a:pt x="3607" y="45935"/>
                      </a:cubicBezTo>
                      <a:cubicBezTo>
                        <a:pt x="2513" y="44842"/>
                        <a:pt x="1966" y="43748"/>
                        <a:pt x="1966" y="42654"/>
                      </a:cubicBezTo>
                      <a:cubicBezTo>
                        <a:pt x="1419" y="40466"/>
                        <a:pt x="2513" y="39373"/>
                        <a:pt x="4701" y="38279"/>
                      </a:cubicBezTo>
                      <a:cubicBezTo>
                        <a:pt x="6890" y="37185"/>
                        <a:pt x="8531" y="38279"/>
                        <a:pt x="9625" y="39920"/>
                      </a:cubicBezTo>
                      <a:cubicBezTo>
                        <a:pt x="12908" y="43748"/>
                        <a:pt x="16190" y="47576"/>
                        <a:pt x="19473" y="51404"/>
                      </a:cubicBezTo>
                      <a:cubicBezTo>
                        <a:pt x="21661" y="54139"/>
                        <a:pt x="24397" y="57420"/>
                        <a:pt x="27132" y="61248"/>
                      </a:cubicBezTo>
                    </a:path>
                  </a:pathLst>
                </a:custGeom>
                <a:solidFill>
                  <a:schemeClr val="accent6"/>
                </a:solidFill>
                <a:ln w="5470" cap="flat">
                  <a:noFill/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231" name="Group 230">
                <a:extLst>
                  <a:ext uri="{FF2B5EF4-FFF2-40B4-BE49-F238E27FC236}">
                    <a16:creationId xmlns:a16="http://schemas.microsoft.com/office/drawing/2014/main" id="{109D313C-CBF2-42EE-8B5C-26068043D985}"/>
                  </a:ext>
                </a:extLst>
              </p:cNvPr>
              <p:cNvGrpSpPr/>
              <p:nvPr/>
            </p:nvGrpSpPr>
            <p:grpSpPr>
              <a:xfrm>
                <a:off x="1726676" y="4308353"/>
                <a:ext cx="298083" cy="328668"/>
                <a:chOff x="2441855" y="4596939"/>
                <a:chExt cx="260371" cy="267219"/>
              </a:xfrm>
            </p:grpSpPr>
            <p:sp>
              <p:nvSpPr>
                <p:cNvPr id="218" name="Freeform 296">
                  <a:extLst>
                    <a:ext uri="{FF2B5EF4-FFF2-40B4-BE49-F238E27FC236}">
                      <a16:creationId xmlns:a16="http://schemas.microsoft.com/office/drawing/2014/main" id="{BBF407FC-E099-F146-823F-BD35251290EF}"/>
                    </a:ext>
                  </a:extLst>
                </p:cNvPr>
                <p:cNvSpPr/>
                <p:nvPr/>
              </p:nvSpPr>
              <p:spPr>
                <a:xfrm>
                  <a:off x="2441855" y="4596939"/>
                  <a:ext cx="260371" cy="267219"/>
                </a:xfrm>
                <a:custGeom>
                  <a:avLst/>
                  <a:gdLst>
                    <a:gd name="connsiteX0" fmla="*/ 249741 w 260371"/>
                    <a:gd name="connsiteY0" fmla="*/ 73922 h 267219"/>
                    <a:gd name="connsiteX1" fmla="*/ 239346 w 260371"/>
                    <a:gd name="connsiteY1" fmla="*/ 44390 h 267219"/>
                    <a:gd name="connsiteX2" fmla="*/ 227310 w 260371"/>
                    <a:gd name="connsiteY2" fmla="*/ 24702 h 267219"/>
                    <a:gd name="connsiteX3" fmla="*/ 139775 w 260371"/>
                    <a:gd name="connsiteY3" fmla="*/ 2280 h 267219"/>
                    <a:gd name="connsiteX4" fmla="*/ 122815 w 260371"/>
                    <a:gd name="connsiteY4" fmla="*/ 2826 h 267219"/>
                    <a:gd name="connsiteX5" fmla="*/ 38563 w 260371"/>
                    <a:gd name="connsiteY5" fmla="*/ 24702 h 267219"/>
                    <a:gd name="connsiteX6" fmla="*/ 24886 w 260371"/>
                    <a:gd name="connsiteY6" fmla="*/ 45484 h 267219"/>
                    <a:gd name="connsiteX7" fmla="*/ 15038 w 260371"/>
                    <a:gd name="connsiteY7" fmla="*/ 73922 h 267219"/>
                    <a:gd name="connsiteX8" fmla="*/ 3549 w 260371"/>
                    <a:gd name="connsiteY8" fmla="*/ 101267 h 267219"/>
                    <a:gd name="connsiteX9" fmla="*/ 52240 w 260371"/>
                    <a:gd name="connsiteY9" fmla="*/ 204082 h 267219"/>
                    <a:gd name="connsiteX10" fmla="*/ 53335 w 260371"/>
                    <a:gd name="connsiteY10" fmla="*/ 205723 h 267219"/>
                    <a:gd name="connsiteX11" fmla="*/ 59900 w 260371"/>
                    <a:gd name="connsiteY11" fmla="*/ 214473 h 267219"/>
                    <a:gd name="connsiteX12" fmla="*/ 70842 w 260371"/>
                    <a:gd name="connsiteY12" fmla="*/ 229786 h 267219"/>
                    <a:gd name="connsiteX13" fmla="*/ 71389 w 260371"/>
                    <a:gd name="connsiteY13" fmla="*/ 229239 h 267219"/>
                    <a:gd name="connsiteX14" fmla="*/ 76313 w 260371"/>
                    <a:gd name="connsiteY14" fmla="*/ 234708 h 267219"/>
                    <a:gd name="connsiteX15" fmla="*/ 133210 w 260371"/>
                    <a:gd name="connsiteY15" fmla="*/ 268068 h 267219"/>
                    <a:gd name="connsiteX16" fmla="*/ 214180 w 260371"/>
                    <a:gd name="connsiteY16" fmla="*/ 202988 h 267219"/>
                    <a:gd name="connsiteX17" fmla="*/ 220198 w 260371"/>
                    <a:gd name="connsiteY17" fmla="*/ 194785 h 267219"/>
                    <a:gd name="connsiteX18" fmla="*/ 222386 w 260371"/>
                    <a:gd name="connsiteY18" fmla="*/ 190957 h 267219"/>
                    <a:gd name="connsiteX19" fmla="*/ 228952 w 260371"/>
                    <a:gd name="connsiteY19" fmla="*/ 180019 h 267219"/>
                    <a:gd name="connsiteX20" fmla="*/ 230046 w 260371"/>
                    <a:gd name="connsiteY20" fmla="*/ 177831 h 267219"/>
                    <a:gd name="connsiteX21" fmla="*/ 238799 w 260371"/>
                    <a:gd name="connsiteY21" fmla="*/ 160878 h 267219"/>
                    <a:gd name="connsiteX22" fmla="*/ 260683 w 260371"/>
                    <a:gd name="connsiteY22" fmla="*/ 100173 h 267219"/>
                    <a:gd name="connsiteX23" fmla="*/ 249741 w 260371"/>
                    <a:gd name="connsiteY23" fmla="*/ 73922 h 267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260371" h="267219">
                      <a:moveTo>
                        <a:pt x="249741" y="73922"/>
                      </a:moveTo>
                      <a:cubicBezTo>
                        <a:pt x="233875" y="65719"/>
                        <a:pt x="232234" y="60250"/>
                        <a:pt x="239346" y="44390"/>
                      </a:cubicBezTo>
                      <a:cubicBezTo>
                        <a:pt x="244270" y="33452"/>
                        <a:pt x="239346" y="24155"/>
                        <a:pt x="227310" y="24702"/>
                      </a:cubicBezTo>
                      <a:cubicBezTo>
                        <a:pt x="196126" y="25249"/>
                        <a:pt x="167130" y="17046"/>
                        <a:pt x="139775" y="2280"/>
                      </a:cubicBezTo>
                      <a:cubicBezTo>
                        <a:pt x="135399" y="92"/>
                        <a:pt x="127192" y="639"/>
                        <a:pt x="122815" y="2826"/>
                      </a:cubicBezTo>
                      <a:cubicBezTo>
                        <a:pt x="96555" y="17593"/>
                        <a:pt x="68653" y="25249"/>
                        <a:pt x="38563" y="24702"/>
                      </a:cubicBezTo>
                      <a:cubicBezTo>
                        <a:pt x="24886" y="24702"/>
                        <a:pt x="19962" y="32905"/>
                        <a:pt x="24886" y="45484"/>
                      </a:cubicBezTo>
                      <a:cubicBezTo>
                        <a:pt x="30904" y="60250"/>
                        <a:pt x="28715" y="66266"/>
                        <a:pt x="15038" y="73922"/>
                      </a:cubicBezTo>
                      <a:cubicBezTo>
                        <a:pt x="1361" y="81032"/>
                        <a:pt x="-281" y="85954"/>
                        <a:pt x="3549" y="101267"/>
                      </a:cubicBezTo>
                      <a:cubicBezTo>
                        <a:pt x="13397" y="139002"/>
                        <a:pt x="28168" y="174003"/>
                        <a:pt x="52240" y="204082"/>
                      </a:cubicBezTo>
                      <a:cubicBezTo>
                        <a:pt x="52788" y="204629"/>
                        <a:pt x="52788" y="205176"/>
                        <a:pt x="53335" y="205723"/>
                      </a:cubicBezTo>
                      <a:cubicBezTo>
                        <a:pt x="54976" y="207910"/>
                        <a:pt x="56070" y="209004"/>
                        <a:pt x="59900" y="214473"/>
                      </a:cubicBezTo>
                      <a:cubicBezTo>
                        <a:pt x="62635" y="217754"/>
                        <a:pt x="66465" y="223223"/>
                        <a:pt x="70842" y="229786"/>
                      </a:cubicBezTo>
                      <a:cubicBezTo>
                        <a:pt x="70842" y="229786"/>
                        <a:pt x="70842" y="229239"/>
                        <a:pt x="71389" y="229239"/>
                      </a:cubicBezTo>
                      <a:cubicBezTo>
                        <a:pt x="72483" y="230880"/>
                        <a:pt x="74124" y="233067"/>
                        <a:pt x="76313" y="234708"/>
                      </a:cubicBezTo>
                      <a:cubicBezTo>
                        <a:pt x="79595" y="237442"/>
                        <a:pt x="104761" y="264787"/>
                        <a:pt x="133210" y="268068"/>
                      </a:cubicBezTo>
                      <a:cubicBezTo>
                        <a:pt x="133210" y="268068"/>
                        <a:pt x="166583" y="271896"/>
                        <a:pt x="214180" y="202988"/>
                      </a:cubicBezTo>
                      <a:cubicBezTo>
                        <a:pt x="218557" y="198613"/>
                        <a:pt x="221839" y="194785"/>
                        <a:pt x="220198" y="194785"/>
                      </a:cubicBezTo>
                      <a:cubicBezTo>
                        <a:pt x="220745" y="193691"/>
                        <a:pt x="221839" y="192050"/>
                        <a:pt x="222386" y="190957"/>
                      </a:cubicBezTo>
                      <a:cubicBezTo>
                        <a:pt x="224575" y="187675"/>
                        <a:pt x="226763" y="183847"/>
                        <a:pt x="228952" y="180019"/>
                      </a:cubicBezTo>
                      <a:cubicBezTo>
                        <a:pt x="228952" y="179472"/>
                        <a:pt x="230046" y="178378"/>
                        <a:pt x="230046" y="177831"/>
                      </a:cubicBezTo>
                      <a:cubicBezTo>
                        <a:pt x="233328" y="172362"/>
                        <a:pt x="236064" y="166893"/>
                        <a:pt x="238799" y="160878"/>
                      </a:cubicBezTo>
                      <a:cubicBezTo>
                        <a:pt x="247006" y="141190"/>
                        <a:pt x="253571" y="120408"/>
                        <a:pt x="260683" y="100173"/>
                      </a:cubicBezTo>
                      <a:cubicBezTo>
                        <a:pt x="264513" y="87594"/>
                        <a:pt x="260683" y="79391"/>
                        <a:pt x="249741" y="73922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accent6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19" name="Freeform 297">
                  <a:extLst>
                    <a:ext uri="{FF2B5EF4-FFF2-40B4-BE49-F238E27FC236}">
                      <a16:creationId xmlns:a16="http://schemas.microsoft.com/office/drawing/2014/main" id="{FF4D80D6-C7EB-804A-B339-DA17F3A6B4A8}"/>
                    </a:ext>
                  </a:extLst>
                </p:cNvPr>
                <p:cNvSpPr/>
                <p:nvPr/>
              </p:nvSpPr>
              <p:spPr>
                <a:xfrm>
                  <a:off x="2498981" y="4659833"/>
                  <a:ext cx="150920" cy="140326"/>
                </a:xfrm>
                <a:custGeom>
                  <a:avLst/>
                  <a:gdLst>
                    <a:gd name="connsiteX0" fmla="*/ 47636 w 150920"/>
                    <a:gd name="connsiteY0" fmla="*/ 88687 h 140326"/>
                    <a:gd name="connsiteX1" fmla="*/ 119852 w 150920"/>
                    <a:gd name="connsiteY1" fmla="*/ 14310 h 140326"/>
                    <a:gd name="connsiteX2" fmla="*/ 142283 w 150920"/>
                    <a:gd name="connsiteY2" fmla="*/ 1185 h 140326"/>
                    <a:gd name="connsiteX3" fmla="*/ 152677 w 150920"/>
                    <a:gd name="connsiteY3" fmla="*/ 3373 h 140326"/>
                    <a:gd name="connsiteX4" fmla="*/ 149395 w 150920"/>
                    <a:gd name="connsiteY4" fmla="*/ 12123 h 140326"/>
                    <a:gd name="connsiteX5" fmla="*/ 69519 w 150920"/>
                    <a:gd name="connsiteY5" fmla="*/ 122048 h 140326"/>
                    <a:gd name="connsiteX6" fmla="*/ 47088 w 150920"/>
                    <a:gd name="connsiteY6" fmla="*/ 141189 h 140326"/>
                    <a:gd name="connsiteX7" fmla="*/ 24111 w 150920"/>
                    <a:gd name="connsiteY7" fmla="*/ 124235 h 140326"/>
                    <a:gd name="connsiteX8" fmla="*/ 5509 w 150920"/>
                    <a:gd name="connsiteY8" fmla="*/ 94156 h 140326"/>
                    <a:gd name="connsiteX9" fmla="*/ 10980 w 150920"/>
                    <a:gd name="connsiteY9" fmla="*/ 65718 h 140326"/>
                    <a:gd name="connsiteX10" fmla="*/ 38882 w 150920"/>
                    <a:gd name="connsiteY10" fmla="*/ 73921 h 140326"/>
                    <a:gd name="connsiteX11" fmla="*/ 47636 w 150920"/>
                    <a:gd name="connsiteY11" fmla="*/ 88687 h 140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50920" h="140326">
                      <a:moveTo>
                        <a:pt x="47636" y="88687"/>
                      </a:moveTo>
                      <a:cubicBezTo>
                        <a:pt x="72255" y="63531"/>
                        <a:pt x="95233" y="38374"/>
                        <a:pt x="119852" y="14310"/>
                      </a:cubicBezTo>
                      <a:cubicBezTo>
                        <a:pt x="125870" y="8295"/>
                        <a:pt x="134623" y="5013"/>
                        <a:pt x="142283" y="1185"/>
                      </a:cubicBezTo>
                      <a:cubicBezTo>
                        <a:pt x="145018" y="91"/>
                        <a:pt x="148848" y="2279"/>
                        <a:pt x="152677" y="3373"/>
                      </a:cubicBezTo>
                      <a:cubicBezTo>
                        <a:pt x="151583" y="6107"/>
                        <a:pt x="151583" y="10482"/>
                        <a:pt x="149395" y="12123"/>
                      </a:cubicBezTo>
                      <a:cubicBezTo>
                        <a:pt x="112193" y="41108"/>
                        <a:pt x="90856" y="81578"/>
                        <a:pt x="69519" y="122048"/>
                      </a:cubicBezTo>
                      <a:cubicBezTo>
                        <a:pt x="64595" y="131892"/>
                        <a:pt x="59672" y="140642"/>
                        <a:pt x="47088" y="141189"/>
                      </a:cubicBezTo>
                      <a:cubicBezTo>
                        <a:pt x="35052" y="141736"/>
                        <a:pt x="29581" y="132986"/>
                        <a:pt x="24111" y="124235"/>
                      </a:cubicBezTo>
                      <a:cubicBezTo>
                        <a:pt x="18093" y="114391"/>
                        <a:pt x="11527" y="104547"/>
                        <a:pt x="5509" y="94156"/>
                      </a:cubicBezTo>
                      <a:cubicBezTo>
                        <a:pt x="-1056" y="82672"/>
                        <a:pt x="1133" y="71734"/>
                        <a:pt x="10980" y="65718"/>
                      </a:cubicBezTo>
                      <a:cubicBezTo>
                        <a:pt x="20828" y="59702"/>
                        <a:pt x="31223" y="62437"/>
                        <a:pt x="38882" y="73921"/>
                      </a:cubicBezTo>
                      <a:cubicBezTo>
                        <a:pt x="42165" y="79390"/>
                        <a:pt x="45447" y="85406"/>
                        <a:pt x="47636" y="88687"/>
                      </a:cubicBezTo>
                      <a:close/>
                    </a:path>
                  </a:pathLst>
                </a:custGeom>
                <a:solidFill>
                  <a:schemeClr val="accent6">
                    <a:lumMod val="50000"/>
                  </a:schemeClr>
                </a:solidFill>
                <a:ln w="5470" cap="flat">
                  <a:noFill/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233" name="Group 232">
                <a:extLst>
                  <a:ext uri="{FF2B5EF4-FFF2-40B4-BE49-F238E27FC236}">
                    <a16:creationId xmlns:a16="http://schemas.microsoft.com/office/drawing/2014/main" id="{81E9CECF-191B-4177-BE7A-EF085A41CC5B}"/>
                  </a:ext>
                </a:extLst>
              </p:cNvPr>
              <p:cNvGrpSpPr/>
              <p:nvPr/>
            </p:nvGrpSpPr>
            <p:grpSpPr>
              <a:xfrm>
                <a:off x="3686834" y="4303191"/>
                <a:ext cx="423433" cy="476668"/>
                <a:chOff x="185219" y="3411520"/>
                <a:chExt cx="1207882" cy="1315572"/>
              </a:xfrm>
            </p:grpSpPr>
            <p:sp>
              <p:nvSpPr>
                <p:cNvPr id="208" name="Freeform 305">
                  <a:extLst>
                    <a:ext uri="{FF2B5EF4-FFF2-40B4-BE49-F238E27FC236}">
                      <a16:creationId xmlns:a16="http://schemas.microsoft.com/office/drawing/2014/main" id="{57697421-35D5-E64B-9765-5DF97CBE1C72}"/>
                    </a:ext>
                  </a:extLst>
                </p:cNvPr>
                <p:cNvSpPr/>
                <p:nvPr/>
              </p:nvSpPr>
              <p:spPr>
                <a:xfrm>
                  <a:off x="185219" y="3411520"/>
                  <a:ext cx="801144" cy="1152404"/>
                </a:xfrm>
                <a:custGeom>
                  <a:avLst/>
                  <a:gdLst>
                    <a:gd name="connsiteX0" fmla="*/ 147196 w 174539"/>
                    <a:gd name="connsiteY0" fmla="*/ 175343 h 247194"/>
                    <a:gd name="connsiteX1" fmla="*/ 30665 w 174539"/>
                    <a:gd name="connsiteY1" fmla="*/ 175343 h 247194"/>
                    <a:gd name="connsiteX2" fmla="*/ 1669 w 174539"/>
                    <a:gd name="connsiteY2" fmla="*/ 204328 h 247194"/>
                    <a:gd name="connsiteX3" fmla="*/ 1669 w 174539"/>
                    <a:gd name="connsiteY3" fmla="*/ 248079 h 247194"/>
                    <a:gd name="connsiteX4" fmla="*/ 176192 w 174539"/>
                    <a:gd name="connsiteY4" fmla="*/ 248079 h 247194"/>
                    <a:gd name="connsiteX5" fmla="*/ 176192 w 174539"/>
                    <a:gd name="connsiteY5" fmla="*/ 204328 h 247194"/>
                    <a:gd name="connsiteX6" fmla="*/ 147196 w 174539"/>
                    <a:gd name="connsiteY6" fmla="*/ 175343 h 247194"/>
                    <a:gd name="connsiteX7" fmla="*/ 89204 w 174539"/>
                    <a:gd name="connsiteY7" fmla="*/ 15651 h 247194"/>
                    <a:gd name="connsiteX8" fmla="*/ 147196 w 174539"/>
                    <a:gd name="connsiteY8" fmla="*/ 73621 h 247194"/>
                    <a:gd name="connsiteX9" fmla="*/ 89204 w 174539"/>
                    <a:gd name="connsiteY9" fmla="*/ 131592 h 247194"/>
                    <a:gd name="connsiteX10" fmla="*/ 31212 w 174539"/>
                    <a:gd name="connsiteY10" fmla="*/ 73621 h 247194"/>
                    <a:gd name="connsiteX11" fmla="*/ 89204 w 174539"/>
                    <a:gd name="connsiteY11" fmla="*/ 15651 h 247194"/>
                    <a:gd name="connsiteX12" fmla="*/ 16441 w 174539"/>
                    <a:gd name="connsiteY12" fmla="*/ 73621 h 247194"/>
                    <a:gd name="connsiteX13" fmla="*/ 89204 w 174539"/>
                    <a:gd name="connsiteY13" fmla="*/ 146358 h 247194"/>
                    <a:gd name="connsiteX14" fmla="*/ 161967 w 174539"/>
                    <a:gd name="connsiteY14" fmla="*/ 73621 h 247194"/>
                    <a:gd name="connsiteX15" fmla="*/ 89204 w 174539"/>
                    <a:gd name="connsiteY15" fmla="*/ 885 h 247194"/>
                    <a:gd name="connsiteX16" fmla="*/ 16441 w 174539"/>
                    <a:gd name="connsiteY16" fmla="*/ 73621 h 247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74539" h="247194">
                      <a:moveTo>
                        <a:pt x="147196" y="175343"/>
                      </a:moveTo>
                      <a:lnTo>
                        <a:pt x="30665" y="175343"/>
                      </a:lnTo>
                      <a:cubicBezTo>
                        <a:pt x="14799" y="175343"/>
                        <a:pt x="1669" y="188468"/>
                        <a:pt x="1669" y="204328"/>
                      </a:cubicBezTo>
                      <a:lnTo>
                        <a:pt x="1669" y="248079"/>
                      </a:lnTo>
                      <a:lnTo>
                        <a:pt x="176192" y="248079"/>
                      </a:lnTo>
                      <a:lnTo>
                        <a:pt x="176192" y="204328"/>
                      </a:lnTo>
                      <a:cubicBezTo>
                        <a:pt x="176739" y="188468"/>
                        <a:pt x="163609" y="175343"/>
                        <a:pt x="147196" y="175343"/>
                      </a:cubicBezTo>
                      <a:moveTo>
                        <a:pt x="89204" y="15651"/>
                      </a:moveTo>
                      <a:cubicBezTo>
                        <a:pt x="121482" y="15651"/>
                        <a:pt x="147196" y="41902"/>
                        <a:pt x="147196" y="73621"/>
                      </a:cubicBezTo>
                      <a:cubicBezTo>
                        <a:pt x="147196" y="105888"/>
                        <a:pt x="120935" y="131592"/>
                        <a:pt x="89204" y="131592"/>
                      </a:cubicBezTo>
                      <a:cubicBezTo>
                        <a:pt x="57473" y="131592"/>
                        <a:pt x="31212" y="105341"/>
                        <a:pt x="31212" y="73621"/>
                      </a:cubicBezTo>
                      <a:cubicBezTo>
                        <a:pt x="31212" y="41355"/>
                        <a:pt x="56925" y="15651"/>
                        <a:pt x="89204" y="15651"/>
                      </a:cubicBezTo>
                      <a:moveTo>
                        <a:pt x="16441" y="73621"/>
                      </a:moveTo>
                      <a:cubicBezTo>
                        <a:pt x="16441" y="113544"/>
                        <a:pt x="49266" y="146358"/>
                        <a:pt x="89204" y="146358"/>
                      </a:cubicBezTo>
                      <a:cubicBezTo>
                        <a:pt x="129142" y="146358"/>
                        <a:pt x="161967" y="113544"/>
                        <a:pt x="161967" y="73621"/>
                      </a:cubicBezTo>
                      <a:cubicBezTo>
                        <a:pt x="161967" y="33698"/>
                        <a:pt x="129142" y="885"/>
                        <a:pt x="89204" y="885"/>
                      </a:cubicBezTo>
                      <a:cubicBezTo>
                        <a:pt x="49266" y="885"/>
                        <a:pt x="16441" y="33698"/>
                        <a:pt x="16441" y="73621"/>
                      </a:cubicBezTo>
                    </a:path>
                  </a:pathLst>
                </a:custGeom>
                <a:solidFill>
                  <a:srgbClr val="0070C0"/>
                </a:solidFill>
                <a:ln w="5470" cap="flat">
                  <a:noFill/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09" name="Freeform 306">
                  <a:extLst>
                    <a:ext uri="{FF2B5EF4-FFF2-40B4-BE49-F238E27FC236}">
                      <a16:creationId xmlns:a16="http://schemas.microsoft.com/office/drawing/2014/main" id="{9D740B3D-4329-F843-934B-584EDA54C016}"/>
                    </a:ext>
                  </a:extLst>
                </p:cNvPr>
                <p:cNvSpPr/>
                <p:nvPr/>
              </p:nvSpPr>
              <p:spPr>
                <a:xfrm>
                  <a:off x="632212" y="4186586"/>
                  <a:ext cx="760889" cy="540506"/>
                </a:xfrm>
                <a:custGeom>
                  <a:avLst/>
                  <a:gdLst>
                    <a:gd name="connsiteX0" fmla="*/ 129689 w 165769"/>
                    <a:gd name="connsiteY0" fmla="*/ 116826 h 115940"/>
                    <a:gd name="connsiteX1" fmla="*/ 39418 w 165769"/>
                    <a:gd name="connsiteY1" fmla="*/ 116826 h 115940"/>
                    <a:gd name="connsiteX2" fmla="*/ 1669 w 165769"/>
                    <a:gd name="connsiteY2" fmla="*/ 79090 h 115940"/>
                    <a:gd name="connsiteX3" fmla="*/ 1669 w 165769"/>
                    <a:gd name="connsiteY3" fmla="*/ 38620 h 115940"/>
                    <a:gd name="connsiteX4" fmla="*/ 39418 w 165769"/>
                    <a:gd name="connsiteY4" fmla="*/ 885 h 115940"/>
                    <a:gd name="connsiteX5" fmla="*/ 129689 w 165769"/>
                    <a:gd name="connsiteY5" fmla="*/ 885 h 115940"/>
                    <a:gd name="connsiteX6" fmla="*/ 167438 w 165769"/>
                    <a:gd name="connsiteY6" fmla="*/ 38620 h 115940"/>
                    <a:gd name="connsiteX7" fmla="*/ 167438 w 165769"/>
                    <a:gd name="connsiteY7" fmla="*/ 79090 h 115940"/>
                    <a:gd name="connsiteX8" fmla="*/ 129689 w 165769"/>
                    <a:gd name="connsiteY8" fmla="*/ 116826 h 1159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5769" h="115940">
                      <a:moveTo>
                        <a:pt x="129689" y="116826"/>
                      </a:moveTo>
                      <a:lnTo>
                        <a:pt x="39418" y="116826"/>
                      </a:lnTo>
                      <a:cubicBezTo>
                        <a:pt x="18629" y="116826"/>
                        <a:pt x="1669" y="99872"/>
                        <a:pt x="1669" y="79090"/>
                      </a:cubicBezTo>
                      <a:lnTo>
                        <a:pt x="1669" y="38620"/>
                      </a:lnTo>
                      <a:cubicBezTo>
                        <a:pt x="1669" y="17839"/>
                        <a:pt x="18629" y="885"/>
                        <a:pt x="39418" y="885"/>
                      </a:cubicBezTo>
                      <a:lnTo>
                        <a:pt x="129689" y="885"/>
                      </a:lnTo>
                      <a:cubicBezTo>
                        <a:pt x="150478" y="885"/>
                        <a:pt x="167438" y="17839"/>
                        <a:pt x="167438" y="38620"/>
                      </a:cubicBezTo>
                      <a:lnTo>
                        <a:pt x="167438" y="79090"/>
                      </a:lnTo>
                      <a:cubicBezTo>
                        <a:pt x="166891" y="99872"/>
                        <a:pt x="149931" y="116826"/>
                        <a:pt x="129689" y="116826"/>
                      </a:cubicBezTo>
                    </a:path>
                  </a:pathLst>
                </a:custGeom>
                <a:solidFill>
                  <a:schemeClr val="bg1"/>
                </a:solidFill>
                <a:ln w="547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10" name="Freeform 307">
                  <a:extLst>
                    <a:ext uri="{FF2B5EF4-FFF2-40B4-BE49-F238E27FC236}">
                      <a16:creationId xmlns:a16="http://schemas.microsoft.com/office/drawing/2014/main" id="{E2742A15-A722-DB43-A980-B72241C91357}"/>
                    </a:ext>
                  </a:extLst>
                </p:cNvPr>
                <p:cNvSpPr/>
                <p:nvPr/>
              </p:nvSpPr>
              <p:spPr>
                <a:xfrm>
                  <a:off x="727635" y="4099902"/>
                  <a:ext cx="489681" cy="527760"/>
                </a:xfrm>
                <a:custGeom>
                  <a:avLst/>
                  <a:gdLst>
                    <a:gd name="connsiteX0" fmla="*/ 2216 w 106683"/>
                    <a:gd name="connsiteY0" fmla="*/ 57215 h 113206"/>
                    <a:gd name="connsiteX1" fmla="*/ 2216 w 106683"/>
                    <a:gd name="connsiteY1" fmla="*/ 24948 h 113206"/>
                    <a:gd name="connsiteX2" fmla="*/ 18629 w 106683"/>
                    <a:gd name="connsiteY2" fmla="*/ 1979 h 113206"/>
                    <a:gd name="connsiteX3" fmla="*/ 26835 w 106683"/>
                    <a:gd name="connsiteY3" fmla="*/ 885 h 113206"/>
                    <a:gd name="connsiteX4" fmla="*/ 58020 w 106683"/>
                    <a:gd name="connsiteY4" fmla="*/ 885 h 113206"/>
                    <a:gd name="connsiteX5" fmla="*/ 67320 w 106683"/>
                    <a:gd name="connsiteY5" fmla="*/ 7995 h 113206"/>
                    <a:gd name="connsiteX6" fmla="*/ 58567 w 106683"/>
                    <a:gd name="connsiteY6" fmla="*/ 18385 h 113206"/>
                    <a:gd name="connsiteX7" fmla="*/ 26835 w 106683"/>
                    <a:gd name="connsiteY7" fmla="*/ 18385 h 113206"/>
                    <a:gd name="connsiteX8" fmla="*/ 24647 w 106683"/>
                    <a:gd name="connsiteY8" fmla="*/ 18385 h 113206"/>
                    <a:gd name="connsiteX9" fmla="*/ 19723 w 106683"/>
                    <a:gd name="connsiteY9" fmla="*/ 23854 h 113206"/>
                    <a:gd name="connsiteX10" fmla="*/ 19723 w 106683"/>
                    <a:gd name="connsiteY10" fmla="*/ 24948 h 113206"/>
                    <a:gd name="connsiteX11" fmla="*/ 19723 w 106683"/>
                    <a:gd name="connsiteY11" fmla="*/ 88934 h 113206"/>
                    <a:gd name="connsiteX12" fmla="*/ 20270 w 106683"/>
                    <a:gd name="connsiteY12" fmla="*/ 91669 h 113206"/>
                    <a:gd name="connsiteX13" fmla="*/ 26288 w 106683"/>
                    <a:gd name="connsiteY13" fmla="*/ 96044 h 113206"/>
                    <a:gd name="connsiteX14" fmla="*/ 84280 w 106683"/>
                    <a:gd name="connsiteY14" fmla="*/ 96044 h 113206"/>
                    <a:gd name="connsiteX15" fmla="*/ 90845 w 106683"/>
                    <a:gd name="connsiteY15" fmla="*/ 89481 h 113206"/>
                    <a:gd name="connsiteX16" fmla="*/ 90845 w 106683"/>
                    <a:gd name="connsiteY16" fmla="*/ 55574 h 113206"/>
                    <a:gd name="connsiteX17" fmla="*/ 92486 w 106683"/>
                    <a:gd name="connsiteY17" fmla="*/ 49558 h 113206"/>
                    <a:gd name="connsiteX18" fmla="*/ 102334 w 106683"/>
                    <a:gd name="connsiteY18" fmla="*/ 46277 h 113206"/>
                    <a:gd name="connsiteX19" fmla="*/ 108352 w 106683"/>
                    <a:gd name="connsiteY19" fmla="*/ 54480 h 113206"/>
                    <a:gd name="connsiteX20" fmla="*/ 108352 w 106683"/>
                    <a:gd name="connsiteY20" fmla="*/ 91669 h 113206"/>
                    <a:gd name="connsiteX21" fmla="*/ 87563 w 106683"/>
                    <a:gd name="connsiteY21" fmla="*/ 114091 h 113206"/>
                    <a:gd name="connsiteX22" fmla="*/ 83186 w 106683"/>
                    <a:gd name="connsiteY22" fmla="*/ 114091 h 113206"/>
                    <a:gd name="connsiteX23" fmla="*/ 25741 w 106683"/>
                    <a:gd name="connsiteY23" fmla="*/ 114091 h 113206"/>
                    <a:gd name="connsiteX24" fmla="*/ 2216 w 106683"/>
                    <a:gd name="connsiteY24" fmla="*/ 94950 h 113206"/>
                    <a:gd name="connsiteX25" fmla="*/ 1669 w 106683"/>
                    <a:gd name="connsiteY25" fmla="*/ 88934 h 113206"/>
                    <a:gd name="connsiteX26" fmla="*/ 2216 w 106683"/>
                    <a:gd name="connsiteY26" fmla="*/ 57215 h 113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06683" h="113206">
                      <a:moveTo>
                        <a:pt x="2216" y="57215"/>
                      </a:moveTo>
                      <a:cubicBezTo>
                        <a:pt x="2216" y="46277"/>
                        <a:pt x="2216" y="35339"/>
                        <a:pt x="2216" y="24948"/>
                      </a:cubicBezTo>
                      <a:cubicBezTo>
                        <a:pt x="2216" y="14010"/>
                        <a:pt x="8781" y="5260"/>
                        <a:pt x="18629" y="1979"/>
                      </a:cubicBezTo>
                      <a:cubicBezTo>
                        <a:pt x="21364" y="1432"/>
                        <a:pt x="24100" y="885"/>
                        <a:pt x="26835" y="885"/>
                      </a:cubicBezTo>
                      <a:cubicBezTo>
                        <a:pt x="37230" y="885"/>
                        <a:pt x="47625" y="885"/>
                        <a:pt x="58020" y="885"/>
                      </a:cubicBezTo>
                      <a:cubicBezTo>
                        <a:pt x="62943" y="885"/>
                        <a:pt x="66226" y="3619"/>
                        <a:pt x="67320" y="7995"/>
                      </a:cubicBezTo>
                      <a:cubicBezTo>
                        <a:pt x="68414" y="13463"/>
                        <a:pt x="64585" y="18385"/>
                        <a:pt x="58567" y="18385"/>
                      </a:cubicBezTo>
                      <a:cubicBezTo>
                        <a:pt x="48172" y="18385"/>
                        <a:pt x="37777" y="18385"/>
                        <a:pt x="26835" y="18385"/>
                      </a:cubicBezTo>
                      <a:cubicBezTo>
                        <a:pt x="26288" y="18385"/>
                        <a:pt x="25741" y="18385"/>
                        <a:pt x="24647" y="18385"/>
                      </a:cubicBezTo>
                      <a:cubicBezTo>
                        <a:pt x="21911" y="18932"/>
                        <a:pt x="19723" y="21120"/>
                        <a:pt x="19723" y="23854"/>
                      </a:cubicBezTo>
                      <a:cubicBezTo>
                        <a:pt x="19723" y="24401"/>
                        <a:pt x="19723" y="24948"/>
                        <a:pt x="19723" y="24948"/>
                      </a:cubicBezTo>
                      <a:cubicBezTo>
                        <a:pt x="19723" y="46277"/>
                        <a:pt x="19723" y="67606"/>
                        <a:pt x="19723" y="88934"/>
                      </a:cubicBezTo>
                      <a:cubicBezTo>
                        <a:pt x="19723" y="90028"/>
                        <a:pt x="19723" y="90575"/>
                        <a:pt x="20270" y="91669"/>
                      </a:cubicBezTo>
                      <a:cubicBezTo>
                        <a:pt x="20817" y="94403"/>
                        <a:pt x="23553" y="96044"/>
                        <a:pt x="26288" y="96044"/>
                      </a:cubicBezTo>
                      <a:cubicBezTo>
                        <a:pt x="45436" y="96044"/>
                        <a:pt x="65132" y="96044"/>
                        <a:pt x="84280" y="96044"/>
                      </a:cubicBezTo>
                      <a:cubicBezTo>
                        <a:pt x="88110" y="96044"/>
                        <a:pt x="90845" y="93309"/>
                        <a:pt x="90845" y="89481"/>
                      </a:cubicBezTo>
                      <a:cubicBezTo>
                        <a:pt x="90845" y="77996"/>
                        <a:pt x="90845" y="67059"/>
                        <a:pt x="90845" y="55574"/>
                      </a:cubicBezTo>
                      <a:cubicBezTo>
                        <a:pt x="90845" y="53386"/>
                        <a:pt x="91392" y="51199"/>
                        <a:pt x="92486" y="49558"/>
                      </a:cubicBezTo>
                      <a:cubicBezTo>
                        <a:pt x="94675" y="46824"/>
                        <a:pt x="98504" y="45183"/>
                        <a:pt x="102334" y="46277"/>
                      </a:cubicBezTo>
                      <a:cubicBezTo>
                        <a:pt x="105617" y="47371"/>
                        <a:pt x="108352" y="50652"/>
                        <a:pt x="108352" y="54480"/>
                      </a:cubicBezTo>
                      <a:cubicBezTo>
                        <a:pt x="108352" y="67059"/>
                        <a:pt x="108352" y="79090"/>
                        <a:pt x="108352" y="91669"/>
                      </a:cubicBezTo>
                      <a:cubicBezTo>
                        <a:pt x="108352" y="102607"/>
                        <a:pt x="98504" y="112451"/>
                        <a:pt x="87563" y="114091"/>
                      </a:cubicBezTo>
                      <a:cubicBezTo>
                        <a:pt x="85921" y="114091"/>
                        <a:pt x="84827" y="114091"/>
                        <a:pt x="83186" y="114091"/>
                      </a:cubicBezTo>
                      <a:cubicBezTo>
                        <a:pt x="64038" y="114091"/>
                        <a:pt x="44889" y="114091"/>
                        <a:pt x="25741" y="114091"/>
                      </a:cubicBezTo>
                      <a:cubicBezTo>
                        <a:pt x="14252" y="114091"/>
                        <a:pt x="4404" y="106435"/>
                        <a:pt x="2216" y="94950"/>
                      </a:cubicBezTo>
                      <a:cubicBezTo>
                        <a:pt x="1669" y="92763"/>
                        <a:pt x="1669" y="91122"/>
                        <a:pt x="1669" y="88934"/>
                      </a:cubicBezTo>
                      <a:cubicBezTo>
                        <a:pt x="2216" y="78543"/>
                        <a:pt x="2216" y="68152"/>
                        <a:pt x="2216" y="57215"/>
                      </a:cubicBezTo>
                    </a:path>
                  </a:pathLst>
                </a:custGeom>
                <a:solidFill>
                  <a:srgbClr val="0070C0"/>
                </a:solidFill>
                <a:ln w="5470" cap="flat">
                  <a:solidFill>
                    <a:schemeClr val="accent6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11" name="Freeform 308">
                  <a:extLst>
                    <a:ext uri="{FF2B5EF4-FFF2-40B4-BE49-F238E27FC236}">
                      <a16:creationId xmlns:a16="http://schemas.microsoft.com/office/drawing/2014/main" id="{42471DE1-1161-434A-A2D5-B9305688FF11}"/>
                    </a:ext>
                  </a:extLst>
                </p:cNvPr>
                <p:cNvSpPr/>
                <p:nvPr/>
              </p:nvSpPr>
              <p:spPr>
                <a:xfrm>
                  <a:off x="901148" y="4073432"/>
                  <a:ext cx="348812" cy="354764"/>
                </a:xfrm>
                <a:custGeom>
                  <a:avLst/>
                  <a:gdLst>
                    <a:gd name="connsiteX0" fmla="*/ 77663 w 75993"/>
                    <a:gd name="connsiteY0" fmla="*/ 10391 h 76098"/>
                    <a:gd name="connsiteX1" fmla="*/ 74380 w 75993"/>
                    <a:gd name="connsiteY1" fmla="*/ 16407 h 76098"/>
                    <a:gd name="connsiteX2" fmla="*/ 47025 w 75993"/>
                    <a:gd name="connsiteY2" fmla="*/ 43751 h 76098"/>
                    <a:gd name="connsiteX3" fmla="*/ 16935 w 75993"/>
                    <a:gd name="connsiteY3" fmla="*/ 73830 h 76098"/>
                    <a:gd name="connsiteX4" fmla="*/ 8182 w 75993"/>
                    <a:gd name="connsiteY4" fmla="*/ 76565 h 76098"/>
                    <a:gd name="connsiteX5" fmla="*/ 4352 w 75993"/>
                    <a:gd name="connsiteY5" fmla="*/ 61799 h 76098"/>
                    <a:gd name="connsiteX6" fmla="*/ 19671 w 75993"/>
                    <a:gd name="connsiteY6" fmla="*/ 46486 h 76098"/>
                    <a:gd name="connsiteX7" fmla="*/ 62344 w 75993"/>
                    <a:gd name="connsiteY7" fmla="*/ 3828 h 76098"/>
                    <a:gd name="connsiteX8" fmla="*/ 74927 w 75993"/>
                    <a:gd name="connsiteY8" fmla="*/ 3282 h 76098"/>
                    <a:gd name="connsiteX9" fmla="*/ 77663 w 75993"/>
                    <a:gd name="connsiteY9" fmla="*/ 10391 h 76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5993" h="76098">
                      <a:moveTo>
                        <a:pt x="77663" y="10391"/>
                      </a:moveTo>
                      <a:cubicBezTo>
                        <a:pt x="77663" y="12579"/>
                        <a:pt x="76568" y="14219"/>
                        <a:pt x="74380" y="16407"/>
                      </a:cubicBezTo>
                      <a:cubicBezTo>
                        <a:pt x="65080" y="25704"/>
                        <a:pt x="56326" y="34454"/>
                        <a:pt x="47025" y="43751"/>
                      </a:cubicBezTo>
                      <a:cubicBezTo>
                        <a:pt x="37178" y="53595"/>
                        <a:pt x="26783" y="63986"/>
                        <a:pt x="16935" y="73830"/>
                      </a:cubicBezTo>
                      <a:cubicBezTo>
                        <a:pt x="14200" y="76565"/>
                        <a:pt x="11464" y="77659"/>
                        <a:pt x="8182" y="76565"/>
                      </a:cubicBezTo>
                      <a:cubicBezTo>
                        <a:pt x="1617" y="74924"/>
                        <a:pt x="-572" y="66721"/>
                        <a:pt x="4352" y="61799"/>
                      </a:cubicBezTo>
                      <a:cubicBezTo>
                        <a:pt x="9276" y="56330"/>
                        <a:pt x="14747" y="51408"/>
                        <a:pt x="19671" y="46486"/>
                      </a:cubicBezTo>
                      <a:cubicBezTo>
                        <a:pt x="33895" y="32267"/>
                        <a:pt x="48120" y="18048"/>
                        <a:pt x="62344" y="3828"/>
                      </a:cubicBezTo>
                      <a:cubicBezTo>
                        <a:pt x="66174" y="0"/>
                        <a:pt x="71098" y="0"/>
                        <a:pt x="74927" y="3282"/>
                      </a:cubicBezTo>
                      <a:cubicBezTo>
                        <a:pt x="76568" y="4922"/>
                        <a:pt x="77116" y="7110"/>
                        <a:pt x="77663" y="10391"/>
                      </a:cubicBezTo>
                    </a:path>
                  </a:pathLst>
                </a:custGeom>
                <a:solidFill>
                  <a:srgbClr val="0070C0"/>
                </a:solidFill>
                <a:ln w="5470" cap="flat">
                  <a:noFill/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288" name="Group 287">
                <a:extLst>
                  <a:ext uri="{FF2B5EF4-FFF2-40B4-BE49-F238E27FC236}">
                    <a16:creationId xmlns:a16="http://schemas.microsoft.com/office/drawing/2014/main" id="{7EB60CD6-BAEF-41B7-A362-E66C2BD8DD88}"/>
                  </a:ext>
                </a:extLst>
              </p:cNvPr>
              <p:cNvGrpSpPr/>
              <p:nvPr/>
            </p:nvGrpSpPr>
            <p:grpSpPr>
              <a:xfrm>
                <a:off x="6556312" y="4377230"/>
                <a:ext cx="293944" cy="366603"/>
                <a:chOff x="342761" y="2082112"/>
                <a:chExt cx="567726" cy="700603"/>
              </a:xfrm>
            </p:grpSpPr>
            <p:sp>
              <p:nvSpPr>
                <p:cNvPr id="249" name="Freeform 632">
                  <a:extLst>
                    <a:ext uri="{FF2B5EF4-FFF2-40B4-BE49-F238E27FC236}">
                      <a16:creationId xmlns:a16="http://schemas.microsoft.com/office/drawing/2014/main" id="{EB018A1F-88B8-224D-92CF-F549ABD1969B}"/>
                    </a:ext>
                  </a:extLst>
                </p:cNvPr>
                <p:cNvSpPr/>
                <p:nvPr/>
              </p:nvSpPr>
              <p:spPr>
                <a:xfrm>
                  <a:off x="554319" y="2711379"/>
                  <a:ext cx="149020" cy="71336"/>
                </a:xfrm>
                <a:custGeom>
                  <a:avLst/>
                  <a:gdLst>
                    <a:gd name="connsiteX0" fmla="*/ 24522 w 54709"/>
                    <a:gd name="connsiteY0" fmla="*/ 27727 h 27344"/>
                    <a:gd name="connsiteX1" fmla="*/ 11392 w 54709"/>
                    <a:gd name="connsiteY1" fmla="*/ 21712 h 27344"/>
                    <a:gd name="connsiteX2" fmla="*/ 997 w 54709"/>
                    <a:gd name="connsiteY2" fmla="*/ 383 h 27344"/>
                    <a:gd name="connsiteX3" fmla="*/ 55707 w 54709"/>
                    <a:gd name="connsiteY3" fmla="*/ 383 h 27344"/>
                    <a:gd name="connsiteX4" fmla="*/ 43123 w 54709"/>
                    <a:gd name="connsiteY4" fmla="*/ 23352 h 27344"/>
                    <a:gd name="connsiteX5" fmla="*/ 32182 w 54709"/>
                    <a:gd name="connsiteY5" fmla="*/ 27727 h 27344"/>
                    <a:gd name="connsiteX6" fmla="*/ 24522 w 54709"/>
                    <a:gd name="connsiteY6" fmla="*/ 27727 h 27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709" h="27344">
                      <a:moveTo>
                        <a:pt x="24522" y="27727"/>
                      </a:moveTo>
                      <a:cubicBezTo>
                        <a:pt x="19598" y="26634"/>
                        <a:pt x="15222" y="24993"/>
                        <a:pt x="11392" y="21712"/>
                      </a:cubicBezTo>
                      <a:cubicBezTo>
                        <a:pt x="4827" y="16790"/>
                        <a:pt x="997" y="8586"/>
                        <a:pt x="997" y="383"/>
                      </a:cubicBezTo>
                      <a:lnTo>
                        <a:pt x="55707" y="383"/>
                      </a:lnTo>
                      <a:cubicBezTo>
                        <a:pt x="55159" y="10227"/>
                        <a:pt x="51330" y="17883"/>
                        <a:pt x="43123" y="23352"/>
                      </a:cubicBezTo>
                      <a:cubicBezTo>
                        <a:pt x="39841" y="25540"/>
                        <a:pt x="36011" y="26087"/>
                        <a:pt x="32182" y="27727"/>
                      </a:cubicBezTo>
                      <a:lnTo>
                        <a:pt x="24522" y="27727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5470" cap="flat">
                  <a:noFill/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0" name="Freeform 633">
                  <a:extLst>
                    <a:ext uri="{FF2B5EF4-FFF2-40B4-BE49-F238E27FC236}">
                      <a16:creationId xmlns:a16="http://schemas.microsoft.com/office/drawing/2014/main" id="{A28CCB5B-CD94-F34B-B199-C0F72595E489}"/>
                    </a:ext>
                  </a:extLst>
                </p:cNvPr>
                <p:cNvSpPr/>
                <p:nvPr/>
              </p:nvSpPr>
              <p:spPr>
                <a:xfrm>
                  <a:off x="342761" y="2082112"/>
                  <a:ext cx="567726" cy="590743"/>
                </a:xfrm>
                <a:custGeom>
                  <a:avLst/>
                  <a:gdLst>
                    <a:gd name="connsiteX0" fmla="*/ 85230 w 208425"/>
                    <a:gd name="connsiteY0" fmla="*/ 30489 h 226439"/>
                    <a:gd name="connsiteX1" fmla="*/ 85777 w 208425"/>
                    <a:gd name="connsiteY1" fmla="*/ 17911 h 226439"/>
                    <a:gd name="connsiteX2" fmla="*/ 107661 w 208425"/>
                    <a:gd name="connsiteY2" fmla="*/ 411 h 226439"/>
                    <a:gd name="connsiteX3" fmla="*/ 126262 w 208425"/>
                    <a:gd name="connsiteY3" fmla="*/ 19552 h 226439"/>
                    <a:gd name="connsiteX4" fmla="*/ 126262 w 208425"/>
                    <a:gd name="connsiteY4" fmla="*/ 28302 h 226439"/>
                    <a:gd name="connsiteX5" fmla="*/ 127903 w 208425"/>
                    <a:gd name="connsiteY5" fmla="*/ 30489 h 226439"/>
                    <a:gd name="connsiteX6" fmla="*/ 185895 w 208425"/>
                    <a:gd name="connsiteY6" fmla="*/ 96116 h 226439"/>
                    <a:gd name="connsiteX7" fmla="*/ 188084 w 208425"/>
                    <a:gd name="connsiteY7" fmla="*/ 118539 h 226439"/>
                    <a:gd name="connsiteX8" fmla="*/ 188084 w 208425"/>
                    <a:gd name="connsiteY8" fmla="*/ 162837 h 226439"/>
                    <a:gd name="connsiteX9" fmla="*/ 188084 w 208425"/>
                    <a:gd name="connsiteY9" fmla="*/ 185259 h 226439"/>
                    <a:gd name="connsiteX10" fmla="*/ 203402 w 208425"/>
                    <a:gd name="connsiteY10" fmla="*/ 201119 h 226439"/>
                    <a:gd name="connsiteX11" fmla="*/ 206138 w 208425"/>
                    <a:gd name="connsiteY11" fmla="*/ 203854 h 226439"/>
                    <a:gd name="connsiteX12" fmla="*/ 199573 w 208425"/>
                    <a:gd name="connsiteY12" fmla="*/ 226276 h 226439"/>
                    <a:gd name="connsiteX13" fmla="*/ 194649 w 208425"/>
                    <a:gd name="connsiteY13" fmla="*/ 226823 h 226439"/>
                    <a:gd name="connsiteX14" fmla="*/ 15749 w 208425"/>
                    <a:gd name="connsiteY14" fmla="*/ 226823 h 226439"/>
                    <a:gd name="connsiteX15" fmla="*/ 2072 w 208425"/>
                    <a:gd name="connsiteY15" fmla="*/ 218073 h 226439"/>
                    <a:gd name="connsiteX16" fmla="*/ 5902 w 208425"/>
                    <a:gd name="connsiteY16" fmla="*/ 202760 h 226439"/>
                    <a:gd name="connsiteX17" fmla="*/ 20126 w 208425"/>
                    <a:gd name="connsiteY17" fmla="*/ 188541 h 226439"/>
                    <a:gd name="connsiteX18" fmla="*/ 22862 w 208425"/>
                    <a:gd name="connsiteY18" fmla="*/ 181978 h 226439"/>
                    <a:gd name="connsiteX19" fmla="*/ 22862 w 208425"/>
                    <a:gd name="connsiteY19" fmla="*/ 115257 h 226439"/>
                    <a:gd name="connsiteX20" fmla="*/ 35992 w 208425"/>
                    <a:gd name="connsiteY20" fmla="*/ 66037 h 226439"/>
                    <a:gd name="connsiteX21" fmla="*/ 81948 w 208425"/>
                    <a:gd name="connsiteY21" fmla="*/ 31036 h 226439"/>
                    <a:gd name="connsiteX22" fmla="*/ 85230 w 208425"/>
                    <a:gd name="connsiteY22" fmla="*/ 30489 h 2264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08425" h="226439">
                      <a:moveTo>
                        <a:pt x="85230" y="30489"/>
                      </a:moveTo>
                      <a:cubicBezTo>
                        <a:pt x="85230" y="26114"/>
                        <a:pt x="85230" y="21739"/>
                        <a:pt x="85777" y="17911"/>
                      </a:cubicBezTo>
                      <a:cubicBezTo>
                        <a:pt x="87419" y="7520"/>
                        <a:pt x="96719" y="-136"/>
                        <a:pt x="107661" y="411"/>
                      </a:cubicBezTo>
                      <a:cubicBezTo>
                        <a:pt x="117509" y="957"/>
                        <a:pt x="126262" y="9708"/>
                        <a:pt x="126262" y="19552"/>
                      </a:cubicBezTo>
                      <a:cubicBezTo>
                        <a:pt x="126262" y="22286"/>
                        <a:pt x="126262" y="25021"/>
                        <a:pt x="126262" y="28302"/>
                      </a:cubicBezTo>
                      <a:cubicBezTo>
                        <a:pt x="126262" y="29943"/>
                        <a:pt x="126809" y="30489"/>
                        <a:pt x="127903" y="30489"/>
                      </a:cubicBezTo>
                      <a:cubicBezTo>
                        <a:pt x="161276" y="39787"/>
                        <a:pt x="179330" y="63303"/>
                        <a:pt x="185895" y="96116"/>
                      </a:cubicBezTo>
                      <a:cubicBezTo>
                        <a:pt x="187537" y="103226"/>
                        <a:pt x="187537" y="110882"/>
                        <a:pt x="188084" y="118539"/>
                      </a:cubicBezTo>
                      <a:cubicBezTo>
                        <a:pt x="188631" y="133305"/>
                        <a:pt x="188084" y="148071"/>
                        <a:pt x="188084" y="162837"/>
                      </a:cubicBezTo>
                      <a:cubicBezTo>
                        <a:pt x="188084" y="170493"/>
                        <a:pt x="188084" y="177603"/>
                        <a:pt x="188084" y="185259"/>
                      </a:cubicBezTo>
                      <a:cubicBezTo>
                        <a:pt x="193007" y="190728"/>
                        <a:pt x="198478" y="195650"/>
                        <a:pt x="203402" y="201119"/>
                      </a:cubicBezTo>
                      <a:cubicBezTo>
                        <a:pt x="204496" y="202213"/>
                        <a:pt x="205591" y="202760"/>
                        <a:pt x="206138" y="203854"/>
                      </a:cubicBezTo>
                      <a:cubicBezTo>
                        <a:pt x="212703" y="211510"/>
                        <a:pt x="208873" y="222995"/>
                        <a:pt x="199573" y="226276"/>
                      </a:cubicBezTo>
                      <a:cubicBezTo>
                        <a:pt x="197931" y="226823"/>
                        <a:pt x="196290" y="226823"/>
                        <a:pt x="194649" y="226823"/>
                      </a:cubicBezTo>
                      <a:cubicBezTo>
                        <a:pt x="135016" y="226823"/>
                        <a:pt x="75382" y="226823"/>
                        <a:pt x="15749" y="226823"/>
                      </a:cubicBezTo>
                      <a:cubicBezTo>
                        <a:pt x="9184" y="226823"/>
                        <a:pt x="4260" y="224089"/>
                        <a:pt x="2072" y="218073"/>
                      </a:cubicBezTo>
                      <a:cubicBezTo>
                        <a:pt x="-116" y="212057"/>
                        <a:pt x="978" y="207135"/>
                        <a:pt x="5902" y="202760"/>
                      </a:cubicBezTo>
                      <a:cubicBezTo>
                        <a:pt x="10825" y="197838"/>
                        <a:pt x="15202" y="192916"/>
                        <a:pt x="20126" y="188541"/>
                      </a:cubicBezTo>
                      <a:cubicBezTo>
                        <a:pt x="22314" y="186353"/>
                        <a:pt x="22862" y="184712"/>
                        <a:pt x="22862" y="181978"/>
                      </a:cubicBezTo>
                      <a:cubicBezTo>
                        <a:pt x="22862" y="159556"/>
                        <a:pt x="22862" y="137680"/>
                        <a:pt x="22862" y="115257"/>
                      </a:cubicBezTo>
                      <a:cubicBezTo>
                        <a:pt x="22862" y="97757"/>
                        <a:pt x="27238" y="80803"/>
                        <a:pt x="35992" y="66037"/>
                      </a:cubicBezTo>
                      <a:cubicBezTo>
                        <a:pt x="46934" y="48537"/>
                        <a:pt x="62252" y="36505"/>
                        <a:pt x="81948" y="31036"/>
                      </a:cubicBezTo>
                      <a:cubicBezTo>
                        <a:pt x="83589" y="31036"/>
                        <a:pt x="84136" y="31036"/>
                        <a:pt x="85230" y="30489"/>
                      </a:cubicBezTo>
                    </a:path>
                  </a:pathLst>
                </a:custGeom>
                <a:solidFill>
                  <a:schemeClr val="accent4"/>
                </a:solidFill>
                <a:ln w="5470" cap="flat">
                  <a:noFill/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321" name="Group 320">
                <a:extLst>
                  <a:ext uri="{FF2B5EF4-FFF2-40B4-BE49-F238E27FC236}">
                    <a16:creationId xmlns:a16="http://schemas.microsoft.com/office/drawing/2014/main" id="{85248CF1-34DF-4B3F-84D3-A732AF50D098}"/>
                  </a:ext>
                </a:extLst>
              </p:cNvPr>
              <p:cNvGrpSpPr/>
              <p:nvPr/>
            </p:nvGrpSpPr>
            <p:grpSpPr>
              <a:xfrm>
                <a:off x="5987328" y="2016884"/>
                <a:ext cx="467341" cy="344851"/>
                <a:chOff x="271004" y="2697655"/>
                <a:chExt cx="726693" cy="617842"/>
              </a:xfrm>
            </p:grpSpPr>
            <p:sp>
              <p:nvSpPr>
                <p:cNvPr id="303" name="Freeform 400">
                  <a:extLst>
                    <a:ext uri="{FF2B5EF4-FFF2-40B4-BE49-F238E27FC236}">
                      <a16:creationId xmlns:a16="http://schemas.microsoft.com/office/drawing/2014/main" id="{8EBF9482-42E2-164E-AF58-926E1E73D368}"/>
                    </a:ext>
                  </a:extLst>
                </p:cNvPr>
                <p:cNvSpPr/>
                <p:nvPr/>
              </p:nvSpPr>
              <p:spPr>
                <a:xfrm>
                  <a:off x="459457" y="2780230"/>
                  <a:ext cx="538240" cy="535267"/>
                </a:xfrm>
                <a:custGeom>
                  <a:avLst/>
                  <a:gdLst>
                    <a:gd name="connsiteX0" fmla="*/ 187650 w 217195"/>
                    <a:gd name="connsiteY0" fmla="*/ 209281 h 209155"/>
                    <a:gd name="connsiteX1" fmla="*/ 182179 w 217195"/>
                    <a:gd name="connsiteY1" fmla="*/ 203812 h 209155"/>
                    <a:gd name="connsiteX2" fmla="*/ 149353 w 217195"/>
                    <a:gd name="connsiteY2" fmla="*/ 166077 h 209155"/>
                    <a:gd name="connsiteX3" fmla="*/ 134582 w 217195"/>
                    <a:gd name="connsiteY3" fmla="*/ 159514 h 209155"/>
                    <a:gd name="connsiteX4" fmla="*/ 50877 w 217195"/>
                    <a:gd name="connsiteY4" fmla="*/ 159514 h 209155"/>
                    <a:gd name="connsiteX5" fmla="*/ 1638 w 217195"/>
                    <a:gd name="connsiteY5" fmla="*/ 117404 h 209155"/>
                    <a:gd name="connsiteX6" fmla="*/ 544 w 217195"/>
                    <a:gd name="connsiteY6" fmla="*/ 105372 h 209155"/>
                    <a:gd name="connsiteX7" fmla="*/ 544 w 217195"/>
                    <a:gd name="connsiteY7" fmla="*/ 52871 h 209155"/>
                    <a:gd name="connsiteX8" fmla="*/ 31181 w 217195"/>
                    <a:gd name="connsiteY8" fmla="*/ 4744 h 209155"/>
                    <a:gd name="connsiteX9" fmla="*/ 49782 w 217195"/>
                    <a:gd name="connsiteY9" fmla="*/ 369 h 209155"/>
                    <a:gd name="connsiteX10" fmla="*/ 168502 w 217195"/>
                    <a:gd name="connsiteY10" fmla="*/ 369 h 209155"/>
                    <a:gd name="connsiteX11" fmla="*/ 212816 w 217195"/>
                    <a:gd name="connsiteY11" fmla="*/ 29354 h 209155"/>
                    <a:gd name="connsiteX12" fmla="*/ 217740 w 217195"/>
                    <a:gd name="connsiteY12" fmla="*/ 51777 h 209155"/>
                    <a:gd name="connsiteX13" fmla="*/ 217740 w 217195"/>
                    <a:gd name="connsiteY13" fmla="*/ 109747 h 209155"/>
                    <a:gd name="connsiteX14" fmla="*/ 192027 w 217195"/>
                    <a:gd name="connsiteY14" fmla="*/ 152404 h 209155"/>
                    <a:gd name="connsiteX15" fmla="*/ 187650 w 217195"/>
                    <a:gd name="connsiteY15" fmla="*/ 159514 h 209155"/>
                    <a:gd name="connsiteX16" fmla="*/ 187650 w 217195"/>
                    <a:gd name="connsiteY16" fmla="*/ 204359 h 209155"/>
                    <a:gd name="connsiteX17" fmla="*/ 187650 w 217195"/>
                    <a:gd name="connsiteY17" fmla="*/ 207640 h 209155"/>
                    <a:gd name="connsiteX18" fmla="*/ 187650 w 217195"/>
                    <a:gd name="connsiteY18" fmla="*/ 209281 h 209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17195" h="209155">
                      <a:moveTo>
                        <a:pt x="187650" y="209281"/>
                      </a:moveTo>
                      <a:cubicBezTo>
                        <a:pt x="186009" y="207640"/>
                        <a:pt x="184367" y="205453"/>
                        <a:pt x="182179" y="203812"/>
                      </a:cubicBezTo>
                      <a:cubicBezTo>
                        <a:pt x="171237" y="191234"/>
                        <a:pt x="159748" y="179202"/>
                        <a:pt x="149353" y="166077"/>
                      </a:cubicBezTo>
                      <a:cubicBezTo>
                        <a:pt x="144977" y="161155"/>
                        <a:pt x="141147" y="159514"/>
                        <a:pt x="134582" y="159514"/>
                      </a:cubicBezTo>
                      <a:cubicBezTo>
                        <a:pt x="106680" y="159514"/>
                        <a:pt x="78778" y="159514"/>
                        <a:pt x="50877" y="159514"/>
                      </a:cubicBezTo>
                      <a:cubicBezTo>
                        <a:pt x="26804" y="159514"/>
                        <a:pt x="4921" y="140373"/>
                        <a:pt x="1638" y="117404"/>
                      </a:cubicBezTo>
                      <a:cubicBezTo>
                        <a:pt x="1091" y="113575"/>
                        <a:pt x="544" y="109200"/>
                        <a:pt x="544" y="105372"/>
                      </a:cubicBezTo>
                      <a:cubicBezTo>
                        <a:pt x="544" y="87871"/>
                        <a:pt x="544" y="70371"/>
                        <a:pt x="544" y="52871"/>
                      </a:cubicBezTo>
                      <a:cubicBezTo>
                        <a:pt x="544" y="30448"/>
                        <a:pt x="10939" y="14041"/>
                        <a:pt x="31181" y="4744"/>
                      </a:cubicBezTo>
                      <a:cubicBezTo>
                        <a:pt x="37199" y="2010"/>
                        <a:pt x="43217" y="369"/>
                        <a:pt x="49782" y="369"/>
                      </a:cubicBezTo>
                      <a:cubicBezTo>
                        <a:pt x="89173" y="369"/>
                        <a:pt x="129111" y="-178"/>
                        <a:pt x="168502" y="369"/>
                      </a:cubicBezTo>
                      <a:cubicBezTo>
                        <a:pt x="188744" y="369"/>
                        <a:pt x="203516" y="10760"/>
                        <a:pt x="212816" y="29354"/>
                      </a:cubicBezTo>
                      <a:cubicBezTo>
                        <a:pt x="216646" y="36464"/>
                        <a:pt x="217740" y="44120"/>
                        <a:pt x="217740" y="51777"/>
                      </a:cubicBezTo>
                      <a:cubicBezTo>
                        <a:pt x="217740" y="70918"/>
                        <a:pt x="217740" y="90059"/>
                        <a:pt x="217740" y="109747"/>
                      </a:cubicBezTo>
                      <a:cubicBezTo>
                        <a:pt x="217740" y="128888"/>
                        <a:pt x="208439" y="143107"/>
                        <a:pt x="192027" y="152404"/>
                      </a:cubicBezTo>
                      <a:cubicBezTo>
                        <a:pt x="188744" y="154045"/>
                        <a:pt x="187650" y="155686"/>
                        <a:pt x="187650" y="159514"/>
                      </a:cubicBezTo>
                      <a:cubicBezTo>
                        <a:pt x="187650" y="174280"/>
                        <a:pt x="187650" y="189593"/>
                        <a:pt x="187650" y="204359"/>
                      </a:cubicBezTo>
                      <a:cubicBezTo>
                        <a:pt x="187650" y="205453"/>
                        <a:pt x="187650" y="206547"/>
                        <a:pt x="187650" y="207640"/>
                      </a:cubicBezTo>
                      <a:lnTo>
                        <a:pt x="187650" y="209281"/>
                      </a:lnTo>
                    </a:path>
                  </a:pathLst>
                </a:custGeom>
                <a:solidFill>
                  <a:schemeClr val="accent5">
                    <a:lumMod val="60000"/>
                    <a:lumOff val="40000"/>
                  </a:schemeClr>
                </a:solidFill>
                <a:ln w="5470" cap="flat">
                  <a:solidFill>
                    <a:schemeClr val="accent5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4" name="Freeform 401">
                  <a:extLst>
                    <a:ext uri="{FF2B5EF4-FFF2-40B4-BE49-F238E27FC236}">
                      <a16:creationId xmlns:a16="http://schemas.microsoft.com/office/drawing/2014/main" id="{1E7F79A6-1726-0B4C-957B-FD6A9FA8756F}"/>
                    </a:ext>
                  </a:extLst>
                </p:cNvPr>
                <p:cNvSpPr/>
                <p:nvPr/>
              </p:nvSpPr>
              <p:spPr>
                <a:xfrm>
                  <a:off x="271004" y="2697655"/>
                  <a:ext cx="429779" cy="428897"/>
                </a:xfrm>
                <a:custGeom>
                  <a:avLst/>
                  <a:gdLst>
                    <a:gd name="connsiteX0" fmla="*/ 173425 w 173428"/>
                    <a:gd name="connsiteY0" fmla="*/ 18416 h 167591"/>
                    <a:gd name="connsiteX1" fmla="*/ 169596 w 173428"/>
                    <a:gd name="connsiteY1" fmla="*/ 18416 h 167591"/>
                    <a:gd name="connsiteX2" fmla="*/ 129111 w 173428"/>
                    <a:gd name="connsiteY2" fmla="*/ 18416 h 167591"/>
                    <a:gd name="connsiteX3" fmla="*/ 70572 w 173428"/>
                    <a:gd name="connsiteY3" fmla="*/ 52871 h 167591"/>
                    <a:gd name="connsiteX4" fmla="*/ 62913 w 173428"/>
                    <a:gd name="connsiteY4" fmla="*/ 83496 h 167591"/>
                    <a:gd name="connsiteX5" fmla="*/ 62913 w 173428"/>
                    <a:gd name="connsiteY5" fmla="*/ 120685 h 167591"/>
                    <a:gd name="connsiteX6" fmla="*/ 60177 w 173428"/>
                    <a:gd name="connsiteY6" fmla="*/ 128888 h 167591"/>
                    <a:gd name="connsiteX7" fmla="*/ 26804 w 173428"/>
                    <a:gd name="connsiteY7" fmla="*/ 166077 h 167591"/>
                    <a:gd name="connsiteX8" fmla="*/ 25163 w 173428"/>
                    <a:gd name="connsiteY8" fmla="*/ 167717 h 167591"/>
                    <a:gd name="connsiteX9" fmla="*/ 24616 w 173428"/>
                    <a:gd name="connsiteY9" fmla="*/ 166624 h 167591"/>
                    <a:gd name="connsiteX10" fmla="*/ 24616 w 173428"/>
                    <a:gd name="connsiteY10" fmla="*/ 125060 h 167591"/>
                    <a:gd name="connsiteX11" fmla="*/ 22428 w 173428"/>
                    <a:gd name="connsiteY11" fmla="*/ 121232 h 167591"/>
                    <a:gd name="connsiteX12" fmla="*/ 544 w 173428"/>
                    <a:gd name="connsiteY12" fmla="*/ 85137 h 167591"/>
                    <a:gd name="connsiteX13" fmla="*/ 544 w 173428"/>
                    <a:gd name="connsiteY13" fmla="*/ 41386 h 167591"/>
                    <a:gd name="connsiteX14" fmla="*/ 32822 w 173428"/>
                    <a:gd name="connsiteY14" fmla="*/ 1463 h 167591"/>
                    <a:gd name="connsiteX15" fmla="*/ 43217 w 173428"/>
                    <a:gd name="connsiteY15" fmla="*/ 369 h 167591"/>
                    <a:gd name="connsiteX16" fmla="*/ 143335 w 173428"/>
                    <a:gd name="connsiteY16" fmla="*/ 369 h 167591"/>
                    <a:gd name="connsiteX17" fmla="*/ 173973 w 173428"/>
                    <a:gd name="connsiteY17" fmla="*/ 16776 h 167591"/>
                    <a:gd name="connsiteX18" fmla="*/ 173425 w 173428"/>
                    <a:gd name="connsiteY18" fmla="*/ 18416 h 167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73428" h="167591">
                      <a:moveTo>
                        <a:pt x="173425" y="18416"/>
                      </a:moveTo>
                      <a:lnTo>
                        <a:pt x="169596" y="18416"/>
                      </a:lnTo>
                      <a:cubicBezTo>
                        <a:pt x="155918" y="18416"/>
                        <a:pt x="142788" y="18416"/>
                        <a:pt x="129111" y="18416"/>
                      </a:cubicBezTo>
                      <a:cubicBezTo>
                        <a:pt x="102850" y="18416"/>
                        <a:pt x="83155" y="29901"/>
                        <a:pt x="70572" y="52871"/>
                      </a:cubicBezTo>
                      <a:cubicBezTo>
                        <a:pt x="65101" y="62168"/>
                        <a:pt x="62913" y="72559"/>
                        <a:pt x="62913" y="83496"/>
                      </a:cubicBezTo>
                      <a:cubicBezTo>
                        <a:pt x="62913" y="96075"/>
                        <a:pt x="62913" y="108106"/>
                        <a:pt x="62913" y="120685"/>
                      </a:cubicBezTo>
                      <a:cubicBezTo>
                        <a:pt x="62913" y="123966"/>
                        <a:pt x="62366" y="126154"/>
                        <a:pt x="60177" y="128888"/>
                      </a:cubicBezTo>
                      <a:cubicBezTo>
                        <a:pt x="48688" y="140920"/>
                        <a:pt x="37746" y="153498"/>
                        <a:pt x="26804" y="166077"/>
                      </a:cubicBezTo>
                      <a:cubicBezTo>
                        <a:pt x="26257" y="166624"/>
                        <a:pt x="25710" y="166624"/>
                        <a:pt x="25163" y="167717"/>
                      </a:cubicBezTo>
                      <a:cubicBezTo>
                        <a:pt x="24616" y="167170"/>
                        <a:pt x="24616" y="166624"/>
                        <a:pt x="24616" y="166624"/>
                      </a:cubicBezTo>
                      <a:cubicBezTo>
                        <a:pt x="24616" y="152951"/>
                        <a:pt x="24616" y="138732"/>
                        <a:pt x="24616" y="125060"/>
                      </a:cubicBezTo>
                      <a:cubicBezTo>
                        <a:pt x="24616" y="122872"/>
                        <a:pt x="24069" y="122326"/>
                        <a:pt x="22428" y="121232"/>
                      </a:cubicBezTo>
                      <a:cubicBezTo>
                        <a:pt x="8203" y="113575"/>
                        <a:pt x="544" y="101544"/>
                        <a:pt x="544" y="85137"/>
                      </a:cubicBezTo>
                      <a:cubicBezTo>
                        <a:pt x="544" y="70371"/>
                        <a:pt x="544" y="56152"/>
                        <a:pt x="544" y="41386"/>
                      </a:cubicBezTo>
                      <a:cubicBezTo>
                        <a:pt x="544" y="21698"/>
                        <a:pt x="15863" y="5291"/>
                        <a:pt x="32822" y="1463"/>
                      </a:cubicBezTo>
                      <a:cubicBezTo>
                        <a:pt x="36105" y="916"/>
                        <a:pt x="39935" y="369"/>
                        <a:pt x="43217" y="369"/>
                      </a:cubicBezTo>
                      <a:cubicBezTo>
                        <a:pt x="76590" y="369"/>
                        <a:pt x="109963" y="-178"/>
                        <a:pt x="143335" y="369"/>
                      </a:cubicBezTo>
                      <a:cubicBezTo>
                        <a:pt x="155918" y="369"/>
                        <a:pt x="166313" y="6932"/>
                        <a:pt x="173973" y="16776"/>
                      </a:cubicBezTo>
                      <a:cubicBezTo>
                        <a:pt x="173425" y="17323"/>
                        <a:pt x="173425" y="17323"/>
                        <a:pt x="173425" y="18416"/>
                      </a:cubicBezTo>
                    </a:path>
                  </a:pathLst>
                </a:custGeom>
                <a:solidFill>
                  <a:schemeClr val="accent5">
                    <a:lumMod val="60000"/>
                    <a:lumOff val="40000"/>
                  </a:schemeClr>
                </a:solidFill>
                <a:ln w="5470" cap="flat">
                  <a:solidFill>
                    <a:schemeClr val="accent5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pic>
            <p:nvPicPr>
              <p:cNvPr id="337" name="Picture 336" descr="Graphical user interface&#10;&#10;Description automatically generated">
                <a:extLst>
                  <a:ext uri="{FF2B5EF4-FFF2-40B4-BE49-F238E27FC236}">
                    <a16:creationId xmlns:a16="http://schemas.microsoft.com/office/drawing/2014/main" id="{59C42F8B-4B22-4496-8E51-3C5C83CCAB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99865" y="1927741"/>
                <a:ext cx="862934" cy="584942"/>
              </a:xfrm>
              <a:prstGeom prst="rect">
                <a:avLst/>
              </a:prstGeom>
            </p:spPr>
          </p:pic>
          <p:pic>
            <p:nvPicPr>
              <p:cNvPr id="343" name="Picture 342" descr="A picture containing text, dark&#10;&#10;Description automatically generated">
                <a:extLst>
                  <a:ext uri="{FF2B5EF4-FFF2-40B4-BE49-F238E27FC236}">
                    <a16:creationId xmlns:a16="http://schemas.microsoft.com/office/drawing/2014/main" id="{9197911C-2C20-4C48-BA83-96F52EDD7E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41838" y="3196579"/>
                <a:ext cx="221493" cy="246355"/>
              </a:xfrm>
              <a:prstGeom prst="rect">
                <a:avLst/>
              </a:prstGeom>
            </p:spPr>
          </p:pic>
          <p:pic>
            <p:nvPicPr>
              <p:cNvPr id="29702" name="Picture 6">
                <a:extLst>
                  <a:ext uri="{FF2B5EF4-FFF2-40B4-BE49-F238E27FC236}">
                    <a16:creationId xmlns:a16="http://schemas.microsoft.com/office/drawing/2014/main" id="{FBA0FF50-D349-4463-A0D5-F757D29B3D9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81504" y="2920799"/>
                <a:ext cx="595829" cy="5958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718" name="Picture 22" descr="See the source image">
                <a:extLst>
                  <a:ext uri="{FF2B5EF4-FFF2-40B4-BE49-F238E27FC236}">
                    <a16:creationId xmlns:a16="http://schemas.microsoft.com/office/drawing/2014/main" id="{6DD69AF6-D02D-4852-A16E-985310C576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55146" y="1978586"/>
                <a:ext cx="554456" cy="5544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9" name="TextBox 358">
                <a:extLst>
                  <a:ext uri="{FF2B5EF4-FFF2-40B4-BE49-F238E27FC236}">
                    <a16:creationId xmlns:a16="http://schemas.microsoft.com/office/drawing/2014/main" id="{5E640641-850D-45D2-A4C4-E4C926EF612C}"/>
                  </a:ext>
                </a:extLst>
              </p:cNvPr>
              <p:cNvSpPr txBox="1"/>
              <p:nvPr/>
            </p:nvSpPr>
            <p:spPr>
              <a:xfrm>
                <a:off x="3041896" y="2537254"/>
                <a:ext cx="72616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obile App</a:t>
                </a: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7486D2B-5863-4393-BD17-10CB36EB9DBD}"/>
                </a:ext>
              </a:extLst>
            </p:cNvPr>
            <p:cNvSpPr txBox="1"/>
            <p:nvPr/>
          </p:nvSpPr>
          <p:spPr>
            <a:xfrm>
              <a:off x="7264469" y="4309332"/>
              <a:ext cx="124177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Integrated Microservices</a:t>
              </a: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AD35B70B-4DAF-44B2-8CE7-E0500CB63B83}"/>
                </a:ext>
              </a:extLst>
            </p:cNvPr>
            <p:cNvSpPr txBox="1"/>
            <p:nvPr/>
          </p:nvSpPr>
          <p:spPr>
            <a:xfrm>
              <a:off x="7276078" y="5274843"/>
              <a:ext cx="124177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Single </a:t>
              </a:r>
            </a:p>
            <a:p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source of truth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83C2F73C-D251-422F-BA40-0594B7202991}"/>
                </a:ext>
              </a:extLst>
            </p:cNvPr>
            <p:cNvSpPr txBox="1"/>
            <p:nvPr/>
          </p:nvSpPr>
          <p:spPr>
            <a:xfrm>
              <a:off x="7256753" y="3004052"/>
              <a:ext cx="124177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Experience Orchestration</a:t>
              </a: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115BE238-8D49-40D5-BF3F-82A4B76B4827}"/>
                </a:ext>
              </a:extLst>
            </p:cNvPr>
            <p:cNvSpPr txBox="1"/>
            <p:nvPr/>
          </p:nvSpPr>
          <p:spPr>
            <a:xfrm>
              <a:off x="7172424" y="1927741"/>
              <a:ext cx="148900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Consistent and  relevant experiences across all channels</a:t>
              </a:r>
            </a:p>
          </p:txBody>
        </p:sp>
        <p:sp>
          <p:nvSpPr>
            <p:cNvPr id="5" name="Arrow: Chevron 4">
              <a:extLst>
                <a:ext uri="{FF2B5EF4-FFF2-40B4-BE49-F238E27FC236}">
                  <a16:creationId xmlns:a16="http://schemas.microsoft.com/office/drawing/2014/main" id="{30FCB7C3-ADAE-49B6-B9B6-4BA22C2C609E}"/>
                </a:ext>
              </a:extLst>
            </p:cNvPr>
            <p:cNvSpPr/>
            <p:nvPr/>
          </p:nvSpPr>
          <p:spPr>
            <a:xfrm rot="16200000">
              <a:off x="7620897" y="2669436"/>
              <a:ext cx="209550" cy="215516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90" name="Arrow: Chevron 189">
              <a:extLst>
                <a:ext uri="{FF2B5EF4-FFF2-40B4-BE49-F238E27FC236}">
                  <a16:creationId xmlns:a16="http://schemas.microsoft.com/office/drawing/2014/main" id="{EAA63E05-9E88-467A-B65C-31B45CED9178}"/>
                </a:ext>
              </a:extLst>
            </p:cNvPr>
            <p:cNvSpPr/>
            <p:nvPr/>
          </p:nvSpPr>
          <p:spPr>
            <a:xfrm rot="16200000">
              <a:off x="7620897" y="3922085"/>
              <a:ext cx="209550" cy="215516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91" name="Arrow: Chevron 190">
              <a:extLst>
                <a:ext uri="{FF2B5EF4-FFF2-40B4-BE49-F238E27FC236}">
                  <a16:creationId xmlns:a16="http://schemas.microsoft.com/office/drawing/2014/main" id="{5258BC02-3505-47E9-BDF0-350DF8A52175}"/>
                </a:ext>
              </a:extLst>
            </p:cNvPr>
            <p:cNvSpPr/>
            <p:nvPr/>
          </p:nvSpPr>
          <p:spPr>
            <a:xfrm rot="16200000">
              <a:off x="7620897" y="4999568"/>
              <a:ext cx="209550" cy="215516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62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A412B-F716-421C-B3D7-A95A9A664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82503"/>
            <a:ext cx="11435778" cy="567281"/>
          </a:xfrm>
        </p:spPr>
        <p:txBody>
          <a:bodyPr/>
          <a:lstStyle/>
          <a:p>
            <a:r>
              <a:rPr lang="en-GB" dirty="0"/>
              <a:t>Concept: Next-gen Insurance Solution</a:t>
            </a:r>
          </a:p>
        </p:txBody>
      </p:sp>
      <p:sp>
        <p:nvSpPr>
          <p:cNvPr id="284" name="Freeform 30">
            <a:extLst>
              <a:ext uri="{FF2B5EF4-FFF2-40B4-BE49-F238E27FC236}">
                <a16:creationId xmlns:a16="http://schemas.microsoft.com/office/drawing/2014/main" id="{7991250C-CC80-7241-A0C3-BC12A7A5F5F7}"/>
              </a:ext>
            </a:extLst>
          </p:cNvPr>
          <p:cNvSpPr/>
          <p:nvPr/>
        </p:nvSpPr>
        <p:spPr>
          <a:xfrm>
            <a:off x="8858304" y="68037"/>
            <a:ext cx="1418066" cy="83674"/>
          </a:xfrm>
          <a:custGeom>
            <a:avLst/>
            <a:gdLst>
              <a:gd name="connsiteX0" fmla="*/ 886 w 1418065"/>
              <a:gd name="connsiteY0" fmla="*/ 339 h 83674"/>
              <a:gd name="connsiteX1" fmla="*/ 1418951 w 1418065"/>
              <a:gd name="connsiteY1" fmla="*/ 339 h 83674"/>
              <a:gd name="connsiteX2" fmla="*/ 1418951 w 1418065"/>
              <a:gd name="connsiteY2" fmla="*/ 84013 h 83674"/>
              <a:gd name="connsiteX3" fmla="*/ 886 w 1418065"/>
              <a:gd name="connsiteY3" fmla="*/ 84013 h 83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8065" h="83674">
                <a:moveTo>
                  <a:pt x="886" y="339"/>
                </a:moveTo>
                <a:lnTo>
                  <a:pt x="1418951" y="339"/>
                </a:lnTo>
                <a:lnTo>
                  <a:pt x="1418951" y="84013"/>
                </a:lnTo>
                <a:lnTo>
                  <a:pt x="886" y="84013"/>
                </a:lnTo>
                <a:close/>
              </a:path>
            </a:pathLst>
          </a:custGeom>
          <a:noFill/>
          <a:ln w="5470" cap="flat">
            <a:noFill/>
            <a:prstDash val="solid"/>
            <a:miter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29696" name="Group 29695">
            <a:extLst>
              <a:ext uri="{FF2B5EF4-FFF2-40B4-BE49-F238E27FC236}">
                <a16:creationId xmlns:a16="http://schemas.microsoft.com/office/drawing/2014/main" id="{FD1A67A1-B9C6-48DF-8E14-1295780251BB}"/>
              </a:ext>
            </a:extLst>
          </p:cNvPr>
          <p:cNvGrpSpPr/>
          <p:nvPr/>
        </p:nvGrpSpPr>
        <p:grpSpPr>
          <a:xfrm>
            <a:off x="1204449" y="1116646"/>
            <a:ext cx="9346240" cy="4807168"/>
            <a:chOff x="1204449" y="1116646"/>
            <a:chExt cx="9346240" cy="4807168"/>
          </a:xfrm>
        </p:grpSpPr>
        <p:sp>
          <p:nvSpPr>
            <p:cNvPr id="51" name="object 103">
              <a:extLst>
                <a:ext uri="{FF2B5EF4-FFF2-40B4-BE49-F238E27FC236}">
                  <a16:creationId xmlns:a16="http://schemas.microsoft.com/office/drawing/2014/main" id="{30FD21B7-54DD-4BD3-989F-D46A388E246F}"/>
                </a:ext>
              </a:extLst>
            </p:cNvPr>
            <p:cNvSpPr/>
            <p:nvPr/>
          </p:nvSpPr>
          <p:spPr>
            <a:xfrm>
              <a:off x="1215793" y="2863849"/>
              <a:ext cx="9334896" cy="1224841"/>
            </a:xfrm>
            <a:custGeom>
              <a:avLst/>
              <a:gdLst/>
              <a:ahLst/>
              <a:cxnLst/>
              <a:rect l="l" t="t" r="r" b="b"/>
              <a:pathLst>
                <a:path w="1769110" h="1626870">
                  <a:moveTo>
                    <a:pt x="0" y="1626488"/>
                  </a:moveTo>
                  <a:lnTo>
                    <a:pt x="1768983" y="1626488"/>
                  </a:lnTo>
                  <a:lnTo>
                    <a:pt x="1768983" y="0"/>
                  </a:lnTo>
                  <a:lnTo>
                    <a:pt x="0" y="0"/>
                  </a:lnTo>
                  <a:lnTo>
                    <a:pt x="0" y="1626488"/>
                  </a:lnTo>
                  <a:close/>
                </a:path>
              </a:pathLst>
            </a:custGeom>
            <a:solidFill>
              <a:srgbClr val="F5F9F9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/>
              </a:endParaRPr>
            </a:p>
          </p:txBody>
        </p:sp>
        <p:sp>
          <p:nvSpPr>
            <p:cNvPr id="138" name="object 103">
              <a:extLst>
                <a:ext uri="{FF2B5EF4-FFF2-40B4-BE49-F238E27FC236}">
                  <a16:creationId xmlns:a16="http://schemas.microsoft.com/office/drawing/2014/main" id="{8046C0E3-9F3C-4C6A-A13D-39107930EE39}"/>
                </a:ext>
              </a:extLst>
            </p:cNvPr>
            <p:cNvSpPr/>
            <p:nvPr/>
          </p:nvSpPr>
          <p:spPr>
            <a:xfrm>
              <a:off x="1211454" y="4180333"/>
              <a:ext cx="9334997" cy="961317"/>
            </a:xfrm>
            <a:custGeom>
              <a:avLst/>
              <a:gdLst/>
              <a:ahLst/>
              <a:cxnLst/>
              <a:rect l="l" t="t" r="r" b="b"/>
              <a:pathLst>
                <a:path w="1769110" h="1626870">
                  <a:moveTo>
                    <a:pt x="0" y="1626488"/>
                  </a:moveTo>
                  <a:lnTo>
                    <a:pt x="1768983" y="1626488"/>
                  </a:lnTo>
                  <a:lnTo>
                    <a:pt x="1768983" y="0"/>
                  </a:lnTo>
                  <a:lnTo>
                    <a:pt x="0" y="0"/>
                  </a:lnTo>
                  <a:lnTo>
                    <a:pt x="0" y="1626488"/>
                  </a:lnTo>
                  <a:close/>
                </a:path>
              </a:pathLst>
            </a:custGeom>
            <a:solidFill>
              <a:srgbClr val="F5F9F9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object 103">
              <a:extLst>
                <a:ext uri="{FF2B5EF4-FFF2-40B4-BE49-F238E27FC236}">
                  <a16:creationId xmlns:a16="http://schemas.microsoft.com/office/drawing/2014/main" id="{E62F7C8B-CE36-4EC0-8E58-16300E65694F}"/>
                </a:ext>
              </a:extLst>
            </p:cNvPr>
            <p:cNvSpPr/>
            <p:nvPr/>
          </p:nvSpPr>
          <p:spPr>
            <a:xfrm>
              <a:off x="1206718" y="1837482"/>
              <a:ext cx="9339732" cy="942529"/>
            </a:xfrm>
            <a:custGeom>
              <a:avLst/>
              <a:gdLst/>
              <a:ahLst/>
              <a:cxnLst/>
              <a:rect l="l" t="t" r="r" b="b"/>
              <a:pathLst>
                <a:path w="1769110" h="1626870">
                  <a:moveTo>
                    <a:pt x="0" y="1626488"/>
                  </a:moveTo>
                  <a:lnTo>
                    <a:pt x="1768983" y="1626488"/>
                  </a:lnTo>
                  <a:lnTo>
                    <a:pt x="1768983" y="0"/>
                  </a:lnTo>
                  <a:lnTo>
                    <a:pt x="0" y="0"/>
                  </a:lnTo>
                  <a:lnTo>
                    <a:pt x="0" y="1626488"/>
                  </a:lnTo>
                  <a:close/>
                </a:path>
              </a:pathLst>
            </a:custGeom>
            <a:solidFill>
              <a:srgbClr val="F5F9F9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/>
              </a:endParaRPr>
            </a:p>
          </p:txBody>
        </p:sp>
        <p:sp>
          <p:nvSpPr>
            <p:cNvPr id="53" name="object 56">
              <a:extLst>
                <a:ext uri="{FF2B5EF4-FFF2-40B4-BE49-F238E27FC236}">
                  <a16:creationId xmlns:a16="http://schemas.microsoft.com/office/drawing/2014/main" id="{7E05B7D7-E310-41E1-B341-4E7FA4BF4EDE}"/>
                </a:ext>
              </a:extLst>
            </p:cNvPr>
            <p:cNvSpPr/>
            <p:nvPr/>
          </p:nvSpPr>
          <p:spPr>
            <a:xfrm>
              <a:off x="1211454" y="1406228"/>
              <a:ext cx="9330262" cy="390620"/>
            </a:xfrm>
            <a:custGeom>
              <a:avLst/>
              <a:gdLst/>
              <a:ahLst/>
              <a:cxnLst/>
              <a:rect l="l" t="t" r="r" b="b"/>
              <a:pathLst>
                <a:path w="10325100" h="398144">
                  <a:moveTo>
                    <a:pt x="0" y="398081"/>
                  </a:moveTo>
                  <a:lnTo>
                    <a:pt x="10324719" y="398081"/>
                  </a:lnTo>
                  <a:lnTo>
                    <a:pt x="10324719" y="0"/>
                  </a:lnTo>
                  <a:lnTo>
                    <a:pt x="0" y="0"/>
                  </a:lnTo>
                  <a:lnTo>
                    <a:pt x="0" y="398081"/>
                  </a:lnTo>
                  <a:close/>
                </a:path>
              </a:pathLst>
            </a:custGeom>
            <a:solidFill>
              <a:srgbClr val="4D4E52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object 57">
              <a:extLst>
                <a:ext uri="{FF2B5EF4-FFF2-40B4-BE49-F238E27FC236}">
                  <a16:creationId xmlns:a16="http://schemas.microsoft.com/office/drawing/2014/main" id="{CF1302DA-5ACB-421D-B32D-2365FC9FB34E}"/>
                </a:ext>
              </a:extLst>
            </p:cNvPr>
            <p:cNvSpPr/>
            <p:nvPr/>
          </p:nvSpPr>
          <p:spPr>
            <a:xfrm>
              <a:off x="2051627" y="1436319"/>
              <a:ext cx="410321" cy="29467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object 58">
              <a:extLst>
                <a:ext uri="{FF2B5EF4-FFF2-40B4-BE49-F238E27FC236}">
                  <a16:creationId xmlns:a16="http://schemas.microsoft.com/office/drawing/2014/main" id="{EACDF9A5-9E1A-469D-AE00-CF3B8E6BA9B4}"/>
                </a:ext>
              </a:extLst>
            </p:cNvPr>
            <p:cNvSpPr/>
            <p:nvPr/>
          </p:nvSpPr>
          <p:spPr>
            <a:xfrm>
              <a:off x="1204449" y="1116646"/>
              <a:ext cx="2170645" cy="247633"/>
            </a:xfrm>
            <a:custGeom>
              <a:avLst/>
              <a:gdLst/>
              <a:ahLst/>
              <a:cxnLst/>
              <a:rect l="l" t="t" r="r" b="b"/>
              <a:pathLst>
                <a:path w="2571115" h="365760">
                  <a:moveTo>
                    <a:pt x="2387930" y="0"/>
                  </a:moveTo>
                  <a:lnTo>
                    <a:pt x="0" y="0"/>
                  </a:lnTo>
                  <a:lnTo>
                    <a:pt x="0" y="365760"/>
                  </a:lnTo>
                  <a:lnTo>
                    <a:pt x="2387930" y="365760"/>
                  </a:lnTo>
                  <a:lnTo>
                    <a:pt x="2570810" y="182880"/>
                  </a:lnTo>
                  <a:lnTo>
                    <a:pt x="2387930" y="0"/>
                  </a:lnTo>
                  <a:close/>
                </a:path>
              </a:pathLst>
            </a:custGeom>
            <a:solidFill>
              <a:srgbClr val="C3D7A4">
                <a:lumMod val="60000"/>
                <a:lumOff val="40000"/>
              </a:srgbClr>
            </a:solidFill>
          </p:spPr>
          <p:txBody>
            <a:bodyPr wrap="square" lIns="0" tIns="0" rIns="0" bIns="0" rtlCol="0" anchor="ctr"/>
            <a:lstStyle/>
            <a:p>
              <a:pPr algn="ctr">
                <a:defRPr/>
              </a:pPr>
              <a:r>
                <a:rPr lang="en-US" sz="1400" b="1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search</a:t>
              </a:r>
              <a:endParaRPr sz="1400" b="1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object 60">
              <a:extLst>
                <a:ext uri="{FF2B5EF4-FFF2-40B4-BE49-F238E27FC236}">
                  <a16:creationId xmlns:a16="http://schemas.microsoft.com/office/drawing/2014/main" id="{8905AED4-3C49-4AAE-9A3B-1DBD620893B4}"/>
                </a:ext>
              </a:extLst>
            </p:cNvPr>
            <p:cNvSpPr/>
            <p:nvPr/>
          </p:nvSpPr>
          <p:spPr>
            <a:xfrm>
              <a:off x="3585343" y="1116913"/>
              <a:ext cx="2170645" cy="242532"/>
            </a:xfrm>
            <a:custGeom>
              <a:avLst/>
              <a:gdLst/>
              <a:ahLst/>
              <a:cxnLst/>
              <a:rect l="l" t="t" r="r" b="b"/>
              <a:pathLst>
                <a:path w="2571115" h="365760">
                  <a:moveTo>
                    <a:pt x="2387854" y="0"/>
                  </a:moveTo>
                  <a:lnTo>
                    <a:pt x="0" y="0"/>
                  </a:lnTo>
                  <a:lnTo>
                    <a:pt x="0" y="365760"/>
                  </a:lnTo>
                  <a:lnTo>
                    <a:pt x="2387854" y="365760"/>
                  </a:lnTo>
                  <a:lnTo>
                    <a:pt x="2570734" y="182880"/>
                  </a:lnTo>
                  <a:lnTo>
                    <a:pt x="2387854" y="0"/>
                  </a:lnTo>
                  <a:close/>
                </a:path>
              </a:pathLst>
            </a:custGeom>
            <a:solidFill>
              <a:srgbClr val="FFCB8B"/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en-US" sz="1400" b="1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uy</a:t>
              </a:r>
              <a:endParaRPr sz="1400" b="1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7" name="object 62">
              <a:extLst>
                <a:ext uri="{FF2B5EF4-FFF2-40B4-BE49-F238E27FC236}">
                  <a16:creationId xmlns:a16="http://schemas.microsoft.com/office/drawing/2014/main" id="{5CC4942F-755E-47F3-948D-4A600B866161}"/>
                </a:ext>
              </a:extLst>
            </p:cNvPr>
            <p:cNvSpPr/>
            <p:nvPr/>
          </p:nvSpPr>
          <p:spPr>
            <a:xfrm>
              <a:off x="5966238" y="1126674"/>
              <a:ext cx="2170645" cy="236322"/>
            </a:xfrm>
            <a:custGeom>
              <a:avLst/>
              <a:gdLst/>
              <a:ahLst/>
              <a:cxnLst/>
              <a:rect l="l" t="t" r="r" b="b"/>
              <a:pathLst>
                <a:path w="2571115" h="365760">
                  <a:moveTo>
                    <a:pt x="2387981" y="0"/>
                  </a:moveTo>
                  <a:lnTo>
                    <a:pt x="0" y="0"/>
                  </a:lnTo>
                  <a:lnTo>
                    <a:pt x="0" y="365760"/>
                  </a:lnTo>
                  <a:lnTo>
                    <a:pt x="2387981" y="365760"/>
                  </a:lnTo>
                  <a:lnTo>
                    <a:pt x="2570861" y="182880"/>
                  </a:lnTo>
                  <a:lnTo>
                    <a:pt x="2387981" y="0"/>
                  </a:lnTo>
                  <a:close/>
                </a:path>
              </a:pathLst>
            </a:custGeom>
            <a:solidFill>
              <a:srgbClr val="C5DBF1"/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en-US" sz="1400" b="1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gage</a:t>
              </a:r>
              <a:endParaRPr sz="1400" b="1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8" name="object 64">
              <a:extLst>
                <a:ext uri="{FF2B5EF4-FFF2-40B4-BE49-F238E27FC236}">
                  <a16:creationId xmlns:a16="http://schemas.microsoft.com/office/drawing/2014/main" id="{A4FC649F-A4AC-4A84-9BFE-3F5BEA1B3012}"/>
                </a:ext>
              </a:extLst>
            </p:cNvPr>
            <p:cNvSpPr/>
            <p:nvPr/>
          </p:nvSpPr>
          <p:spPr>
            <a:xfrm>
              <a:off x="8331848" y="1126084"/>
              <a:ext cx="2170645" cy="251539"/>
            </a:xfrm>
            <a:custGeom>
              <a:avLst/>
              <a:gdLst/>
              <a:ahLst/>
              <a:cxnLst/>
              <a:rect l="l" t="t" r="r" b="b"/>
              <a:pathLst>
                <a:path w="2571115" h="365760">
                  <a:moveTo>
                    <a:pt x="2387854" y="0"/>
                  </a:moveTo>
                  <a:lnTo>
                    <a:pt x="0" y="0"/>
                  </a:lnTo>
                  <a:lnTo>
                    <a:pt x="0" y="365760"/>
                  </a:lnTo>
                  <a:lnTo>
                    <a:pt x="2387854" y="365760"/>
                  </a:lnTo>
                  <a:lnTo>
                    <a:pt x="2570734" y="182880"/>
                  </a:lnTo>
                  <a:lnTo>
                    <a:pt x="2387854" y="0"/>
                  </a:lnTo>
                  <a:close/>
                </a:path>
              </a:pathLst>
            </a:custGeom>
            <a:solidFill>
              <a:srgbClr val="512373"/>
            </a:solidFill>
            <a:ln>
              <a:solidFill>
                <a:schemeClr val="tx2"/>
              </a:solidFill>
            </a:ln>
          </p:spPr>
          <p:txBody>
            <a:bodyPr wrap="square" lIns="0" tIns="0" rIns="0" bIns="0" rtlCol="0" anchor="ctr"/>
            <a:lstStyle/>
            <a:p>
              <a:pPr algn="ctr"/>
              <a:r>
                <a:rPr lang="en-US" sz="14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vocate</a:t>
              </a:r>
              <a:endParaRPr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object 66">
              <a:extLst>
                <a:ext uri="{FF2B5EF4-FFF2-40B4-BE49-F238E27FC236}">
                  <a16:creationId xmlns:a16="http://schemas.microsoft.com/office/drawing/2014/main" id="{701585AA-C551-4254-B129-ADFFD10E02DF}"/>
                </a:ext>
              </a:extLst>
            </p:cNvPr>
            <p:cNvSpPr/>
            <p:nvPr/>
          </p:nvSpPr>
          <p:spPr>
            <a:xfrm>
              <a:off x="7034576" y="1439434"/>
              <a:ext cx="441411" cy="294678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object 67">
              <a:extLst>
                <a:ext uri="{FF2B5EF4-FFF2-40B4-BE49-F238E27FC236}">
                  <a16:creationId xmlns:a16="http://schemas.microsoft.com/office/drawing/2014/main" id="{AC733265-26E1-4716-BAC6-B37198792163}"/>
                </a:ext>
              </a:extLst>
            </p:cNvPr>
            <p:cNvSpPr/>
            <p:nvPr/>
          </p:nvSpPr>
          <p:spPr>
            <a:xfrm>
              <a:off x="6740465" y="1457250"/>
              <a:ext cx="250147" cy="277858"/>
            </a:xfrm>
            <a:custGeom>
              <a:avLst/>
              <a:gdLst/>
              <a:ahLst/>
              <a:cxnLst/>
              <a:rect l="l" t="t" r="r" b="b"/>
              <a:pathLst>
                <a:path w="278129" h="283210">
                  <a:moveTo>
                    <a:pt x="150989" y="234187"/>
                  </a:moveTo>
                  <a:lnTo>
                    <a:pt x="141440" y="236045"/>
                  </a:lnTo>
                  <a:lnTo>
                    <a:pt x="133558" y="241141"/>
                  </a:lnTo>
                  <a:lnTo>
                    <a:pt x="128200" y="248761"/>
                  </a:lnTo>
                  <a:lnTo>
                    <a:pt x="126224" y="258190"/>
                  </a:lnTo>
                  <a:lnTo>
                    <a:pt x="128200" y="267739"/>
                  </a:lnTo>
                  <a:lnTo>
                    <a:pt x="133558" y="275621"/>
                  </a:lnTo>
                  <a:lnTo>
                    <a:pt x="141440" y="280979"/>
                  </a:lnTo>
                  <a:lnTo>
                    <a:pt x="150989" y="282955"/>
                  </a:lnTo>
                  <a:lnTo>
                    <a:pt x="160537" y="280979"/>
                  </a:lnTo>
                  <a:lnTo>
                    <a:pt x="168419" y="275621"/>
                  </a:lnTo>
                  <a:lnTo>
                    <a:pt x="173777" y="267739"/>
                  </a:lnTo>
                  <a:lnTo>
                    <a:pt x="175754" y="258190"/>
                  </a:lnTo>
                  <a:lnTo>
                    <a:pt x="173777" y="248761"/>
                  </a:lnTo>
                  <a:lnTo>
                    <a:pt x="168419" y="241141"/>
                  </a:lnTo>
                  <a:lnTo>
                    <a:pt x="160537" y="236045"/>
                  </a:lnTo>
                  <a:lnTo>
                    <a:pt x="150989" y="234187"/>
                  </a:lnTo>
                  <a:close/>
                </a:path>
                <a:path w="278129" h="283210">
                  <a:moveTo>
                    <a:pt x="54723" y="48767"/>
                  </a:moveTo>
                  <a:lnTo>
                    <a:pt x="44817" y="48767"/>
                  </a:lnTo>
                  <a:lnTo>
                    <a:pt x="35827" y="50145"/>
                  </a:lnTo>
                  <a:lnTo>
                    <a:pt x="28434" y="53974"/>
                  </a:lnTo>
                  <a:lnTo>
                    <a:pt x="23421" y="59805"/>
                  </a:lnTo>
                  <a:lnTo>
                    <a:pt x="21576" y="67182"/>
                  </a:lnTo>
                  <a:lnTo>
                    <a:pt x="21576" y="162686"/>
                  </a:lnTo>
                  <a:lnTo>
                    <a:pt x="38467" y="162686"/>
                  </a:lnTo>
                  <a:lnTo>
                    <a:pt x="59676" y="241934"/>
                  </a:lnTo>
                  <a:lnTo>
                    <a:pt x="67550" y="270255"/>
                  </a:lnTo>
                  <a:lnTo>
                    <a:pt x="69582" y="277367"/>
                  </a:lnTo>
                  <a:lnTo>
                    <a:pt x="77456" y="282320"/>
                  </a:lnTo>
                  <a:lnTo>
                    <a:pt x="92950" y="278002"/>
                  </a:lnTo>
                  <a:lnTo>
                    <a:pt x="97268" y="270255"/>
                  </a:lnTo>
                  <a:lnTo>
                    <a:pt x="95109" y="262508"/>
                  </a:lnTo>
                  <a:lnTo>
                    <a:pt x="87997" y="234187"/>
                  </a:lnTo>
                  <a:lnTo>
                    <a:pt x="68947" y="162686"/>
                  </a:lnTo>
                  <a:lnTo>
                    <a:pt x="68947" y="103250"/>
                  </a:lnTo>
                  <a:lnTo>
                    <a:pt x="134098" y="103250"/>
                  </a:lnTo>
                  <a:lnTo>
                    <a:pt x="134098" y="101853"/>
                  </a:lnTo>
                  <a:lnTo>
                    <a:pt x="127621" y="95503"/>
                  </a:lnTo>
                  <a:lnTo>
                    <a:pt x="102856" y="95503"/>
                  </a:lnTo>
                  <a:lnTo>
                    <a:pt x="66788" y="59435"/>
                  </a:lnTo>
                  <a:lnTo>
                    <a:pt x="63232" y="53085"/>
                  </a:lnTo>
                  <a:lnTo>
                    <a:pt x="54723" y="48767"/>
                  </a:lnTo>
                  <a:close/>
                </a:path>
                <a:path w="278129" h="283210">
                  <a:moveTo>
                    <a:pt x="46341" y="212216"/>
                  </a:moveTo>
                  <a:lnTo>
                    <a:pt x="12305" y="244093"/>
                  </a:lnTo>
                  <a:lnTo>
                    <a:pt x="5203" y="252279"/>
                  </a:lnTo>
                  <a:lnTo>
                    <a:pt x="1017" y="260429"/>
                  </a:lnTo>
                  <a:lnTo>
                    <a:pt x="0" y="267650"/>
                  </a:lnTo>
                  <a:lnTo>
                    <a:pt x="2399" y="273049"/>
                  </a:lnTo>
                  <a:lnTo>
                    <a:pt x="7864" y="275643"/>
                  </a:lnTo>
                  <a:lnTo>
                    <a:pt x="15162" y="275034"/>
                  </a:lnTo>
                  <a:lnTo>
                    <a:pt x="23508" y="271496"/>
                  </a:lnTo>
                  <a:lnTo>
                    <a:pt x="32117" y="265302"/>
                  </a:lnTo>
                  <a:lnTo>
                    <a:pt x="54723" y="244093"/>
                  </a:lnTo>
                  <a:lnTo>
                    <a:pt x="46341" y="212216"/>
                  </a:lnTo>
                  <a:close/>
                </a:path>
                <a:path w="278129" h="283210">
                  <a:moveTo>
                    <a:pt x="134098" y="103250"/>
                  </a:moveTo>
                  <a:lnTo>
                    <a:pt x="68947" y="103250"/>
                  </a:lnTo>
                  <a:lnTo>
                    <a:pt x="90156" y="124459"/>
                  </a:lnTo>
                  <a:lnTo>
                    <a:pt x="119874" y="124459"/>
                  </a:lnTo>
                  <a:lnTo>
                    <a:pt x="185697" y="260429"/>
                  </a:lnTo>
                  <a:lnTo>
                    <a:pt x="189978" y="269493"/>
                  </a:lnTo>
                  <a:lnTo>
                    <a:pt x="217687" y="256158"/>
                  </a:lnTo>
                  <a:lnTo>
                    <a:pt x="194931" y="256158"/>
                  </a:lnTo>
                  <a:lnTo>
                    <a:pt x="129145" y="120903"/>
                  </a:lnTo>
                  <a:lnTo>
                    <a:pt x="131939" y="118109"/>
                  </a:lnTo>
                  <a:lnTo>
                    <a:pt x="134098" y="114553"/>
                  </a:lnTo>
                  <a:lnTo>
                    <a:pt x="134098" y="103250"/>
                  </a:lnTo>
                  <a:close/>
                </a:path>
                <a:path w="278129" h="283210">
                  <a:moveTo>
                    <a:pt x="263511" y="222884"/>
                  </a:moveTo>
                  <a:lnTo>
                    <a:pt x="194931" y="256158"/>
                  </a:lnTo>
                  <a:lnTo>
                    <a:pt x="217687" y="256158"/>
                  </a:lnTo>
                  <a:lnTo>
                    <a:pt x="267829" y="232028"/>
                  </a:lnTo>
                  <a:lnTo>
                    <a:pt x="263511" y="222884"/>
                  </a:lnTo>
                  <a:close/>
                </a:path>
                <a:path w="278129" h="283210">
                  <a:moveTo>
                    <a:pt x="191375" y="152145"/>
                  </a:moveTo>
                  <a:lnTo>
                    <a:pt x="159498" y="168401"/>
                  </a:lnTo>
                  <a:lnTo>
                    <a:pt x="197725" y="246887"/>
                  </a:lnTo>
                  <a:lnTo>
                    <a:pt x="235190" y="228472"/>
                  </a:lnTo>
                  <a:lnTo>
                    <a:pt x="207299" y="171957"/>
                  </a:lnTo>
                  <a:lnTo>
                    <a:pt x="201281" y="171957"/>
                  </a:lnTo>
                  <a:lnTo>
                    <a:pt x="191375" y="152145"/>
                  </a:lnTo>
                  <a:close/>
                </a:path>
                <a:path w="278129" h="283210">
                  <a:moveTo>
                    <a:pt x="240143" y="128777"/>
                  </a:moveTo>
                  <a:lnTo>
                    <a:pt x="207631" y="145033"/>
                  </a:lnTo>
                  <a:lnTo>
                    <a:pt x="216775" y="164083"/>
                  </a:lnTo>
                  <a:lnTo>
                    <a:pt x="210425" y="167639"/>
                  </a:lnTo>
                  <a:lnTo>
                    <a:pt x="238746" y="226440"/>
                  </a:lnTo>
                  <a:lnTo>
                    <a:pt x="277735" y="207263"/>
                  </a:lnTo>
                  <a:lnTo>
                    <a:pt x="240143" y="128777"/>
                  </a:lnTo>
                  <a:close/>
                </a:path>
                <a:path w="278129" h="283210">
                  <a:moveTo>
                    <a:pt x="206234" y="169798"/>
                  </a:moveTo>
                  <a:lnTo>
                    <a:pt x="201281" y="171957"/>
                  </a:lnTo>
                  <a:lnTo>
                    <a:pt x="207299" y="171957"/>
                  </a:lnTo>
                  <a:lnTo>
                    <a:pt x="206234" y="169798"/>
                  </a:lnTo>
                  <a:close/>
                </a:path>
                <a:path w="278129" h="283210">
                  <a:moveTo>
                    <a:pt x="61835" y="0"/>
                  </a:moveTo>
                  <a:lnTo>
                    <a:pt x="52504" y="1847"/>
                  </a:lnTo>
                  <a:lnTo>
                    <a:pt x="45102" y="6873"/>
                  </a:lnTo>
                  <a:lnTo>
                    <a:pt x="40225" y="14305"/>
                  </a:lnTo>
                  <a:lnTo>
                    <a:pt x="38467" y="23367"/>
                  </a:lnTo>
                  <a:lnTo>
                    <a:pt x="40225" y="32744"/>
                  </a:lnTo>
                  <a:lnTo>
                    <a:pt x="45102" y="40370"/>
                  </a:lnTo>
                  <a:lnTo>
                    <a:pt x="52504" y="45495"/>
                  </a:lnTo>
                  <a:lnTo>
                    <a:pt x="61835" y="47370"/>
                  </a:lnTo>
                  <a:lnTo>
                    <a:pt x="69054" y="46126"/>
                  </a:lnTo>
                  <a:lnTo>
                    <a:pt x="75487" y="42751"/>
                  </a:lnTo>
                  <a:lnTo>
                    <a:pt x="80587" y="37780"/>
                  </a:lnTo>
                  <a:lnTo>
                    <a:pt x="83806" y="31749"/>
                  </a:lnTo>
                  <a:lnTo>
                    <a:pt x="92477" y="29138"/>
                  </a:lnTo>
                  <a:lnTo>
                    <a:pt x="99173" y="25526"/>
                  </a:lnTo>
                  <a:lnTo>
                    <a:pt x="103487" y="20962"/>
                  </a:lnTo>
                  <a:lnTo>
                    <a:pt x="105015" y="15493"/>
                  </a:lnTo>
                  <a:lnTo>
                    <a:pt x="83806" y="15493"/>
                  </a:lnTo>
                  <a:lnTo>
                    <a:pt x="80587" y="9215"/>
                  </a:lnTo>
                  <a:lnTo>
                    <a:pt x="75487" y="4317"/>
                  </a:lnTo>
                  <a:lnTo>
                    <a:pt x="69054" y="1135"/>
                  </a:lnTo>
                  <a:lnTo>
                    <a:pt x="618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" name="object 68">
              <a:extLst>
                <a:ext uri="{FF2B5EF4-FFF2-40B4-BE49-F238E27FC236}">
                  <a16:creationId xmlns:a16="http://schemas.microsoft.com/office/drawing/2014/main" id="{E532D3B5-CFA2-4E94-9684-17E90429B97B}"/>
                </a:ext>
              </a:extLst>
            </p:cNvPr>
            <p:cNvSpPr/>
            <p:nvPr/>
          </p:nvSpPr>
          <p:spPr>
            <a:xfrm>
              <a:off x="4571029" y="1439533"/>
              <a:ext cx="445901" cy="31264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" name="object 69">
              <a:extLst>
                <a:ext uri="{FF2B5EF4-FFF2-40B4-BE49-F238E27FC236}">
                  <a16:creationId xmlns:a16="http://schemas.microsoft.com/office/drawing/2014/main" id="{841B7571-AD41-4F8C-9B62-E0F630CE729A}"/>
                </a:ext>
              </a:extLst>
            </p:cNvPr>
            <p:cNvSpPr/>
            <p:nvPr/>
          </p:nvSpPr>
          <p:spPr>
            <a:xfrm>
              <a:off x="8712430" y="1470708"/>
              <a:ext cx="109653" cy="221165"/>
            </a:xfrm>
            <a:custGeom>
              <a:avLst/>
              <a:gdLst/>
              <a:ahLst/>
              <a:cxnLst/>
              <a:rect l="l" t="t" r="r" b="b"/>
              <a:pathLst>
                <a:path w="121920" h="225425">
                  <a:moveTo>
                    <a:pt x="64214" y="0"/>
                  </a:moveTo>
                  <a:lnTo>
                    <a:pt x="49248" y="2534"/>
                  </a:lnTo>
                  <a:lnTo>
                    <a:pt x="39544" y="9890"/>
                  </a:lnTo>
                  <a:lnTo>
                    <a:pt x="34174" y="21699"/>
                  </a:lnTo>
                  <a:lnTo>
                    <a:pt x="32210" y="37592"/>
                  </a:lnTo>
                  <a:lnTo>
                    <a:pt x="30559" y="38481"/>
                  </a:lnTo>
                  <a:lnTo>
                    <a:pt x="28908" y="41783"/>
                  </a:lnTo>
                  <a:lnTo>
                    <a:pt x="29670" y="44196"/>
                  </a:lnTo>
                  <a:lnTo>
                    <a:pt x="30559" y="54864"/>
                  </a:lnTo>
                  <a:lnTo>
                    <a:pt x="31321" y="58166"/>
                  </a:lnTo>
                  <a:lnTo>
                    <a:pt x="32972" y="60578"/>
                  </a:lnTo>
                  <a:lnTo>
                    <a:pt x="36274" y="61341"/>
                  </a:lnTo>
                  <a:lnTo>
                    <a:pt x="37163" y="65532"/>
                  </a:lnTo>
                  <a:lnTo>
                    <a:pt x="39576" y="68834"/>
                  </a:lnTo>
                  <a:lnTo>
                    <a:pt x="41227" y="72009"/>
                  </a:lnTo>
                  <a:lnTo>
                    <a:pt x="41227" y="85979"/>
                  </a:lnTo>
                  <a:lnTo>
                    <a:pt x="28967" y="90084"/>
                  </a:lnTo>
                  <a:lnTo>
                    <a:pt x="16303" y="95583"/>
                  </a:lnTo>
                  <a:lnTo>
                    <a:pt x="6258" y="101391"/>
                  </a:lnTo>
                  <a:lnTo>
                    <a:pt x="1857" y="106425"/>
                  </a:lnTo>
                  <a:lnTo>
                    <a:pt x="696" y="121237"/>
                  </a:lnTo>
                  <a:lnTo>
                    <a:pt x="0" y="145383"/>
                  </a:lnTo>
                  <a:lnTo>
                    <a:pt x="232" y="174434"/>
                  </a:lnTo>
                  <a:lnTo>
                    <a:pt x="7671" y="214508"/>
                  </a:lnTo>
                  <a:lnTo>
                    <a:pt x="64214" y="225171"/>
                  </a:lnTo>
                  <a:lnTo>
                    <a:pt x="79835" y="225171"/>
                  </a:lnTo>
                  <a:lnTo>
                    <a:pt x="79037" y="195826"/>
                  </a:lnTo>
                  <a:lnTo>
                    <a:pt x="79073" y="167862"/>
                  </a:lnTo>
                  <a:lnTo>
                    <a:pt x="83147" y="124467"/>
                  </a:lnTo>
                  <a:lnTo>
                    <a:pt x="104346" y="108966"/>
                  </a:lnTo>
                  <a:lnTo>
                    <a:pt x="109299" y="105664"/>
                  </a:lnTo>
                  <a:lnTo>
                    <a:pt x="115903" y="103124"/>
                  </a:lnTo>
                  <a:lnTo>
                    <a:pt x="121618" y="101600"/>
                  </a:lnTo>
                  <a:lnTo>
                    <a:pt x="114740" y="97158"/>
                  </a:lnTo>
                  <a:lnTo>
                    <a:pt x="105933" y="92837"/>
                  </a:lnTo>
                  <a:lnTo>
                    <a:pt x="96365" y="88991"/>
                  </a:lnTo>
                  <a:lnTo>
                    <a:pt x="87201" y="85979"/>
                  </a:lnTo>
                  <a:lnTo>
                    <a:pt x="87201" y="72009"/>
                  </a:lnTo>
                  <a:lnTo>
                    <a:pt x="88852" y="68834"/>
                  </a:lnTo>
                  <a:lnTo>
                    <a:pt x="91265" y="65532"/>
                  </a:lnTo>
                  <a:lnTo>
                    <a:pt x="92027" y="61341"/>
                  </a:lnTo>
                  <a:lnTo>
                    <a:pt x="95329" y="60578"/>
                  </a:lnTo>
                  <a:lnTo>
                    <a:pt x="96980" y="58166"/>
                  </a:lnTo>
                  <a:lnTo>
                    <a:pt x="97869" y="54864"/>
                  </a:lnTo>
                  <a:lnTo>
                    <a:pt x="98631" y="44196"/>
                  </a:lnTo>
                  <a:lnTo>
                    <a:pt x="99520" y="41783"/>
                  </a:lnTo>
                  <a:lnTo>
                    <a:pt x="97869" y="38481"/>
                  </a:lnTo>
                  <a:lnTo>
                    <a:pt x="96218" y="37592"/>
                  </a:lnTo>
                  <a:lnTo>
                    <a:pt x="94182" y="21699"/>
                  </a:lnTo>
                  <a:lnTo>
                    <a:pt x="88788" y="9890"/>
                  </a:lnTo>
                  <a:lnTo>
                    <a:pt x="79109" y="2534"/>
                  </a:lnTo>
                  <a:lnTo>
                    <a:pt x="6421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3" name="object 70">
              <a:extLst>
                <a:ext uri="{FF2B5EF4-FFF2-40B4-BE49-F238E27FC236}">
                  <a16:creationId xmlns:a16="http://schemas.microsoft.com/office/drawing/2014/main" id="{C167D62D-869F-45E5-AAF6-538F91B19F35}"/>
                </a:ext>
              </a:extLst>
            </p:cNvPr>
            <p:cNvSpPr/>
            <p:nvPr/>
          </p:nvSpPr>
          <p:spPr>
            <a:xfrm>
              <a:off x="8823525" y="1486906"/>
              <a:ext cx="68533" cy="94073"/>
            </a:xfrm>
            <a:custGeom>
              <a:avLst/>
              <a:gdLst/>
              <a:ahLst/>
              <a:cxnLst/>
              <a:rect l="l" t="t" r="r" b="b"/>
              <a:pathLst>
                <a:path w="76200" h="95885">
                  <a:moveTo>
                    <a:pt x="37718" y="0"/>
                  </a:moveTo>
                  <a:lnTo>
                    <a:pt x="21732" y="2710"/>
                  </a:lnTo>
                  <a:lnTo>
                    <a:pt x="11271" y="10636"/>
                  </a:lnTo>
                  <a:lnTo>
                    <a:pt x="5429" y="23467"/>
                  </a:lnTo>
                  <a:lnTo>
                    <a:pt x="3301" y="40893"/>
                  </a:lnTo>
                  <a:lnTo>
                    <a:pt x="888" y="42544"/>
                  </a:lnTo>
                  <a:lnTo>
                    <a:pt x="0" y="44957"/>
                  </a:lnTo>
                  <a:lnTo>
                    <a:pt x="0" y="48259"/>
                  </a:lnTo>
                  <a:lnTo>
                    <a:pt x="1650" y="59689"/>
                  </a:lnTo>
                  <a:lnTo>
                    <a:pt x="1650" y="62991"/>
                  </a:lnTo>
                  <a:lnTo>
                    <a:pt x="4063" y="65404"/>
                  </a:lnTo>
                  <a:lnTo>
                    <a:pt x="7365" y="66293"/>
                  </a:lnTo>
                  <a:lnTo>
                    <a:pt x="9016" y="71246"/>
                  </a:lnTo>
                  <a:lnTo>
                    <a:pt x="10667" y="75310"/>
                  </a:lnTo>
                  <a:lnTo>
                    <a:pt x="13080" y="78612"/>
                  </a:lnTo>
                  <a:lnTo>
                    <a:pt x="13080" y="90042"/>
                  </a:lnTo>
                  <a:lnTo>
                    <a:pt x="22097" y="94106"/>
                  </a:lnTo>
                  <a:lnTo>
                    <a:pt x="30352" y="95757"/>
                  </a:lnTo>
                  <a:lnTo>
                    <a:pt x="45084" y="95757"/>
                  </a:lnTo>
                  <a:lnTo>
                    <a:pt x="53212" y="94106"/>
                  </a:lnTo>
                  <a:lnTo>
                    <a:pt x="62229" y="90042"/>
                  </a:lnTo>
                  <a:lnTo>
                    <a:pt x="62229" y="78612"/>
                  </a:lnTo>
                  <a:lnTo>
                    <a:pt x="64642" y="75310"/>
                  </a:lnTo>
                  <a:lnTo>
                    <a:pt x="67182" y="71246"/>
                  </a:lnTo>
                  <a:lnTo>
                    <a:pt x="68833" y="66293"/>
                  </a:lnTo>
                  <a:lnTo>
                    <a:pt x="71246" y="65404"/>
                  </a:lnTo>
                  <a:lnTo>
                    <a:pt x="73659" y="62991"/>
                  </a:lnTo>
                  <a:lnTo>
                    <a:pt x="74548" y="59689"/>
                  </a:lnTo>
                  <a:lnTo>
                    <a:pt x="75310" y="48259"/>
                  </a:lnTo>
                  <a:lnTo>
                    <a:pt x="76199" y="44957"/>
                  </a:lnTo>
                  <a:lnTo>
                    <a:pt x="74548" y="42544"/>
                  </a:lnTo>
                  <a:lnTo>
                    <a:pt x="72008" y="40893"/>
                  </a:lnTo>
                  <a:lnTo>
                    <a:pt x="70223" y="23467"/>
                  </a:lnTo>
                  <a:lnTo>
                    <a:pt x="64388" y="10636"/>
                  </a:lnTo>
                  <a:lnTo>
                    <a:pt x="53792" y="2710"/>
                  </a:lnTo>
                  <a:lnTo>
                    <a:pt x="3771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" name="object 71">
              <a:extLst>
                <a:ext uri="{FF2B5EF4-FFF2-40B4-BE49-F238E27FC236}">
                  <a16:creationId xmlns:a16="http://schemas.microsoft.com/office/drawing/2014/main" id="{74D4B6AE-3BB9-49CB-8F3E-52A9B91002EF}"/>
                </a:ext>
              </a:extLst>
            </p:cNvPr>
            <p:cNvSpPr/>
            <p:nvPr/>
          </p:nvSpPr>
          <p:spPr>
            <a:xfrm>
              <a:off x="8795299" y="1579609"/>
              <a:ext cx="125645" cy="148274"/>
            </a:xfrm>
            <a:custGeom>
              <a:avLst/>
              <a:gdLst/>
              <a:ahLst/>
              <a:cxnLst/>
              <a:rect l="l" t="t" r="r" b="b"/>
              <a:pathLst>
                <a:path w="139700" h="151130">
                  <a:moveTo>
                    <a:pt x="40909" y="0"/>
                  </a:moveTo>
                  <a:lnTo>
                    <a:pt x="2428" y="20574"/>
                  </a:lnTo>
                  <a:lnTo>
                    <a:pt x="0" y="63817"/>
                  </a:lnTo>
                  <a:lnTo>
                    <a:pt x="375" y="95761"/>
                  </a:lnTo>
                  <a:lnTo>
                    <a:pt x="8334" y="139269"/>
                  </a:lnTo>
                  <a:lnTo>
                    <a:pt x="69484" y="151003"/>
                  </a:lnTo>
                  <a:lnTo>
                    <a:pt x="95011" y="149965"/>
                  </a:lnTo>
                  <a:lnTo>
                    <a:pt x="116252" y="146319"/>
                  </a:lnTo>
                  <a:lnTo>
                    <a:pt x="131063" y="139269"/>
                  </a:lnTo>
                  <a:lnTo>
                    <a:pt x="137302" y="128016"/>
                  </a:lnTo>
                  <a:lnTo>
                    <a:pt x="138870" y="96901"/>
                  </a:lnTo>
                  <a:lnTo>
                    <a:pt x="54752" y="96901"/>
                  </a:lnTo>
                  <a:lnTo>
                    <a:pt x="37607" y="75565"/>
                  </a:lnTo>
                  <a:lnTo>
                    <a:pt x="45735" y="13970"/>
                  </a:lnTo>
                  <a:lnTo>
                    <a:pt x="43322" y="9017"/>
                  </a:lnTo>
                  <a:lnTo>
                    <a:pt x="41671" y="4953"/>
                  </a:lnTo>
                  <a:lnTo>
                    <a:pt x="40909" y="0"/>
                  </a:lnTo>
                  <a:close/>
                </a:path>
                <a:path w="139700" h="151130">
                  <a:moveTo>
                    <a:pt x="75961" y="11557"/>
                  </a:moveTo>
                  <a:lnTo>
                    <a:pt x="62880" y="11557"/>
                  </a:lnTo>
                  <a:lnTo>
                    <a:pt x="58054" y="27940"/>
                  </a:lnTo>
                  <a:lnTo>
                    <a:pt x="64531" y="31242"/>
                  </a:lnTo>
                  <a:lnTo>
                    <a:pt x="54752" y="96901"/>
                  </a:lnTo>
                  <a:lnTo>
                    <a:pt x="84216" y="96901"/>
                  </a:lnTo>
                  <a:lnTo>
                    <a:pt x="74310" y="31242"/>
                  </a:lnTo>
                  <a:lnTo>
                    <a:pt x="80914" y="27940"/>
                  </a:lnTo>
                  <a:lnTo>
                    <a:pt x="75961" y="11557"/>
                  </a:lnTo>
                  <a:close/>
                </a:path>
                <a:path w="139700" h="151130">
                  <a:moveTo>
                    <a:pt x="98821" y="0"/>
                  </a:moveTo>
                  <a:lnTo>
                    <a:pt x="98059" y="4064"/>
                  </a:lnTo>
                  <a:lnTo>
                    <a:pt x="96408" y="9017"/>
                  </a:lnTo>
                  <a:lnTo>
                    <a:pt x="93995" y="13970"/>
                  </a:lnTo>
                  <a:lnTo>
                    <a:pt x="102123" y="75565"/>
                  </a:lnTo>
                  <a:lnTo>
                    <a:pt x="84216" y="96901"/>
                  </a:lnTo>
                  <a:lnTo>
                    <a:pt x="138870" y="96901"/>
                  </a:lnTo>
                  <a:lnTo>
                    <a:pt x="138928" y="95761"/>
                  </a:lnTo>
                  <a:lnTo>
                    <a:pt x="139160" y="63817"/>
                  </a:lnTo>
                  <a:lnTo>
                    <a:pt x="138463" y="37111"/>
                  </a:lnTo>
                  <a:lnTo>
                    <a:pt x="137302" y="20574"/>
                  </a:lnTo>
                  <a:lnTo>
                    <a:pt x="133219" y="15591"/>
                  </a:lnTo>
                  <a:lnTo>
                    <a:pt x="123872" y="9953"/>
                  </a:lnTo>
                  <a:lnTo>
                    <a:pt x="111621" y="4482"/>
                  </a:lnTo>
                  <a:lnTo>
                    <a:pt x="9882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object 72">
              <a:extLst>
                <a:ext uri="{FF2B5EF4-FFF2-40B4-BE49-F238E27FC236}">
                  <a16:creationId xmlns:a16="http://schemas.microsoft.com/office/drawing/2014/main" id="{9DB4D449-5075-4DD9-8A2F-5300606A553D}"/>
                </a:ext>
              </a:extLst>
            </p:cNvPr>
            <p:cNvSpPr/>
            <p:nvPr/>
          </p:nvSpPr>
          <p:spPr>
            <a:xfrm>
              <a:off x="4370342" y="1461863"/>
              <a:ext cx="144491" cy="262282"/>
            </a:xfrm>
            <a:custGeom>
              <a:avLst/>
              <a:gdLst/>
              <a:ahLst/>
              <a:cxnLst/>
              <a:rect l="l" t="t" r="r" b="b"/>
              <a:pathLst>
                <a:path w="160654" h="267335">
                  <a:moveTo>
                    <a:pt x="137160" y="0"/>
                  </a:moveTo>
                  <a:lnTo>
                    <a:pt x="23114" y="0"/>
                  </a:lnTo>
                  <a:lnTo>
                    <a:pt x="13983" y="1857"/>
                  </a:lnTo>
                  <a:lnTo>
                    <a:pt x="6651" y="6953"/>
                  </a:lnTo>
                  <a:lnTo>
                    <a:pt x="1772" y="14573"/>
                  </a:lnTo>
                  <a:lnTo>
                    <a:pt x="0" y="24003"/>
                  </a:lnTo>
                  <a:lnTo>
                    <a:pt x="0" y="243204"/>
                  </a:lnTo>
                  <a:lnTo>
                    <a:pt x="1772" y="252313"/>
                  </a:lnTo>
                  <a:lnTo>
                    <a:pt x="6651" y="259969"/>
                  </a:lnTo>
                  <a:lnTo>
                    <a:pt x="13983" y="265243"/>
                  </a:lnTo>
                  <a:lnTo>
                    <a:pt x="23114" y="267208"/>
                  </a:lnTo>
                  <a:lnTo>
                    <a:pt x="137160" y="267208"/>
                  </a:lnTo>
                  <a:lnTo>
                    <a:pt x="146290" y="265243"/>
                  </a:lnTo>
                  <a:lnTo>
                    <a:pt x="153622" y="259969"/>
                  </a:lnTo>
                  <a:lnTo>
                    <a:pt x="158501" y="252313"/>
                  </a:lnTo>
                  <a:lnTo>
                    <a:pt x="158964" y="249936"/>
                  </a:lnTo>
                  <a:lnTo>
                    <a:pt x="44069" y="249936"/>
                  </a:lnTo>
                  <a:lnTo>
                    <a:pt x="42545" y="248411"/>
                  </a:lnTo>
                  <a:lnTo>
                    <a:pt x="42545" y="228854"/>
                  </a:lnTo>
                  <a:lnTo>
                    <a:pt x="44069" y="228092"/>
                  </a:lnTo>
                  <a:lnTo>
                    <a:pt x="160274" y="228092"/>
                  </a:lnTo>
                  <a:lnTo>
                    <a:pt x="160274" y="211582"/>
                  </a:lnTo>
                  <a:lnTo>
                    <a:pt x="15113" y="211582"/>
                  </a:lnTo>
                  <a:lnTo>
                    <a:pt x="14351" y="210058"/>
                  </a:lnTo>
                  <a:lnTo>
                    <a:pt x="14351" y="23241"/>
                  </a:lnTo>
                  <a:lnTo>
                    <a:pt x="15113" y="21717"/>
                  </a:lnTo>
                  <a:lnTo>
                    <a:pt x="159844" y="21717"/>
                  </a:lnTo>
                  <a:lnTo>
                    <a:pt x="158501" y="14573"/>
                  </a:lnTo>
                  <a:lnTo>
                    <a:pt x="153622" y="6953"/>
                  </a:lnTo>
                  <a:lnTo>
                    <a:pt x="146290" y="1857"/>
                  </a:lnTo>
                  <a:lnTo>
                    <a:pt x="137160" y="0"/>
                  </a:lnTo>
                  <a:close/>
                </a:path>
                <a:path w="160654" h="267335">
                  <a:moveTo>
                    <a:pt x="70739" y="228092"/>
                  </a:moveTo>
                  <a:lnTo>
                    <a:pt x="54864" y="228092"/>
                  </a:lnTo>
                  <a:lnTo>
                    <a:pt x="56261" y="228854"/>
                  </a:lnTo>
                  <a:lnTo>
                    <a:pt x="56261" y="248411"/>
                  </a:lnTo>
                  <a:lnTo>
                    <a:pt x="54864" y="249936"/>
                  </a:lnTo>
                  <a:lnTo>
                    <a:pt x="70739" y="249936"/>
                  </a:lnTo>
                  <a:lnTo>
                    <a:pt x="69342" y="248411"/>
                  </a:lnTo>
                  <a:lnTo>
                    <a:pt x="69342" y="228854"/>
                  </a:lnTo>
                  <a:lnTo>
                    <a:pt x="70739" y="228092"/>
                  </a:lnTo>
                  <a:close/>
                </a:path>
                <a:path w="160654" h="267335">
                  <a:moveTo>
                    <a:pt x="104648" y="228092"/>
                  </a:moveTo>
                  <a:lnTo>
                    <a:pt x="89535" y="228092"/>
                  </a:lnTo>
                  <a:lnTo>
                    <a:pt x="90297" y="228854"/>
                  </a:lnTo>
                  <a:lnTo>
                    <a:pt x="90297" y="248411"/>
                  </a:lnTo>
                  <a:lnTo>
                    <a:pt x="89535" y="249936"/>
                  </a:lnTo>
                  <a:lnTo>
                    <a:pt x="104648" y="249936"/>
                  </a:lnTo>
                  <a:lnTo>
                    <a:pt x="104013" y="248411"/>
                  </a:lnTo>
                  <a:lnTo>
                    <a:pt x="104013" y="228854"/>
                  </a:lnTo>
                  <a:lnTo>
                    <a:pt x="104648" y="228092"/>
                  </a:lnTo>
                  <a:close/>
                </a:path>
                <a:path w="160654" h="267335">
                  <a:moveTo>
                    <a:pt x="160274" y="228092"/>
                  </a:moveTo>
                  <a:lnTo>
                    <a:pt x="116205" y="228092"/>
                  </a:lnTo>
                  <a:lnTo>
                    <a:pt x="117729" y="228854"/>
                  </a:lnTo>
                  <a:lnTo>
                    <a:pt x="117729" y="248411"/>
                  </a:lnTo>
                  <a:lnTo>
                    <a:pt x="116205" y="249936"/>
                  </a:lnTo>
                  <a:lnTo>
                    <a:pt x="158964" y="249936"/>
                  </a:lnTo>
                  <a:lnTo>
                    <a:pt x="160274" y="243204"/>
                  </a:lnTo>
                  <a:lnTo>
                    <a:pt x="160274" y="228092"/>
                  </a:lnTo>
                  <a:close/>
                </a:path>
                <a:path w="160654" h="267335">
                  <a:moveTo>
                    <a:pt x="159844" y="21717"/>
                  </a:moveTo>
                  <a:lnTo>
                    <a:pt x="144399" y="21717"/>
                  </a:lnTo>
                  <a:lnTo>
                    <a:pt x="145796" y="23241"/>
                  </a:lnTo>
                  <a:lnTo>
                    <a:pt x="145796" y="210058"/>
                  </a:lnTo>
                  <a:lnTo>
                    <a:pt x="144399" y="211582"/>
                  </a:lnTo>
                  <a:lnTo>
                    <a:pt x="160274" y="211582"/>
                  </a:lnTo>
                  <a:lnTo>
                    <a:pt x="160274" y="24003"/>
                  </a:lnTo>
                  <a:lnTo>
                    <a:pt x="159844" y="2171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" name="object 73">
              <a:extLst>
                <a:ext uri="{FF2B5EF4-FFF2-40B4-BE49-F238E27FC236}">
                  <a16:creationId xmlns:a16="http://schemas.microsoft.com/office/drawing/2014/main" id="{A22CD440-2104-4E2D-AD73-13ACC1BB116B}"/>
                </a:ext>
              </a:extLst>
            </p:cNvPr>
            <p:cNvSpPr/>
            <p:nvPr/>
          </p:nvSpPr>
          <p:spPr>
            <a:xfrm>
              <a:off x="4395469" y="1497872"/>
              <a:ext cx="94805" cy="158242"/>
            </a:xfrm>
            <a:custGeom>
              <a:avLst/>
              <a:gdLst/>
              <a:ahLst/>
              <a:cxnLst/>
              <a:rect l="l" t="t" r="r" b="b"/>
              <a:pathLst>
                <a:path w="105410" h="161289">
                  <a:moveTo>
                    <a:pt x="104901" y="0"/>
                  </a:moveTo>
                  <a:lnTo>
                    <a:pt x="104139" y="0"/>
                  </a:lnTo>
                  <a:lnTo>
                    <a:pt x="103504" y="762"/>
                  </a:lnTo>
                  <a:lnTo>
                    <a:pt x="761" y="158369"/>
                  </a:lnTo>
                  <a:lnTo>
                    <a:pt x="0" y="159766"/>
                  </a:lnTo>
                  <a:lnTo>
                    <a:pt x="0" y="161290"/>
                  </a:lnTo>
                  <a:lnTo>
                    <a:pt x="103504" y="161290"/>
                  </a:lnTo>
                  <a:lnTo>
                    <a:pt x="104901" y="159766"/>
                  </a:lnTo>
                  <a:lnTo>
                    <a:pt x="10490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" name="object 74">
              <a:extLst>
                <a:ext uri="{FF2B5EF4-FFF2-40B4-BE49-F238E27FC236}">
                  <a16:creationId xmlns:a16="http://schemas.microsoft.com/office/drawing/2014/main" id="{3CC2DF90-7B54-4BBD-9880-061C49D39F80}"/>
                </a:ext>
              </a:extLst>
            </p:cNvPr>
            <p:cNvSpPr/>
            <p:nvPr/>
          </p:nvSpPr>
          <p:spPr>
            <a:xfrm>
              <a:off x="2401720" y="1461863"/>
              <a:ext cx="144491" cy="262282"/>
            </a:xfrm>
            <a:custGeom>
              <a:avLst/>
              <a:gdLst/>
              <a:ahLst/>
              <a:cxnLst/>
              <a:rect l="l" t="t" r="r" b="b"/>
              <a:pathLst>
                <a:path w="160655" h="267335">
                  <a:moveTo>
                    <a:pt x="137160" y="0"/>
                  </a:moveTo>
                  <a:lnTo>
                    <a:pt x="23114" y="0"/>
                  </a:lnTo>
                  <a:lnTo>
                    <a:pt x="13983" y="1857"/>
                  </a:lnTo>
                  <a:lnTo>
                    <a:pt x="6651" y="6953"/>
                  </a:lnTo>
                  <a:lnTo>
                    <a:pt x="1772" y="14573"/>
                  </a:lnTo>
                  <a:lnTo>
                    <a:pt x="0" y="24003"/>
                  </a:lnTo>
                  <a:lnTo>
                    <a:pt x="0" y="243204"/>
                  </a:lnTo>
                  <a:lnTo>
                    <a:pt x="1772" y="252313"/>
                  </a:lnTo>
                  <a:lnTo>
                    <a:pt x="6651" y="259969"/>
                  </a:lnTo>
                  <a:lnTo>
                    <a:pt x="13983" y="265243"/>
                  </a:lnTo>
                  <a:lnTo>
                    <a:pt x="23114" y="267208"/>
                  </a:lnTo>
                  <a:lnTo>
                    <a:pt x="137160" y="267208"/>
                  </a:lnTo>
                  <a:lnTo>
                    <a:pt x="146290" y="265243"/>
                  </a:lnTo>
                  <a:lnTo>
                    <a:pt x="153622" y="259969"/>
                  </a:lnTo>
                  <a:lnTo>
                    <a:pt x="158501" y="252313"/>
                  </a:lnTo>
                  <a:lnTo>
                    <a:pt x="158964" y="249936"/>
                  </a:lnTo>
                  <a:lnTo>
                    <a:pt x="44069" y="249936"/>
                  </a:lnTo>
                  <a:lnTo>
                    <a:pt x="42545" y="248411"/>
                  </a:lnTo>
                  <a:lnTo>
                    <a:pt x="42545" y="228854"/>
                  </a:lnTo>
                  <a:lnTo>
                    <a:pt x="44069" y="228092"/>
                  </a:lnTo>
                  <a:lnTo>
                    <a:pt x="160274" y="228092"/>
                  </a:lnTo>
                  <a:lnTo>
                    <a:pt x="160274" y="211582"/>
                  </a:lnTo>
                  <a:lnTo>
                    <a:pt x="15113" y="211582"/>
                  </a:lnTo>
                  <a:lnTo>
                    <a:pt x="14478" y="210058"/>
                  </a:lnTo>
                  <a:lnTo>
                    <a:pt x="14478" y="23241"/>
                  </a:lnTo>
                  <a:lnTo>
                    <a:pt x="15113" y="21717"/>
                  </a:lnTo>
                  <a:lnTo>
                    <a:pt x="159844" y="21717"/>
                  </a:lnTo>
                  <a:lnTo>
                    <a:pt x="158501" y="14573"/>
                  </a:lnTo>
                  <a:lnTo>
                    <a:pt x="153622" y="6953"/>
                  </a:lnTo>
                  <a:lnTo>
                    <a:pt x="146290" y="1857"/>
                  </a:lnTo>
                  <a:lnTo>
                    <a:pt x="137160" y="0"/>
                  </a:lnTo>
                  <a:close/>
                </a:path>
                <a:path w="160655" h="267335">
                  <a:moveTo>
                    <a:pt x="70739" y="228092"/>
                  </a:moveTo>
                  <a:lnTo>
                    <a:pt x="54864" y="228092"/>
                  </a:lnTo>
                  <a:lnTo>
                    <a:pt x="56261" y="228854"/>
                  </a:lnTo>
                  <a:lnTo>
                    <a:pt x="56261" y="248411"/>
                  </a:lnTo>
                  <a:lnTo>
                    <a:pt x="54864" y="249936"/>
                  </a:lnTo>
                  <a:lnTo>
                    <a:pt x="70739" y="249936"/>
                  </a:lnTo>
                  <a:lnTo>
                    <a:pt x="69342" y="248411"/>
                  </a:lnTo>
                  <a:lnTo>
                    <a:pt x="69342" y="228854"/>
                  </a:lnTo>
                  <a:lnTo>
                    <a:pt x="70739" y="228092"/>
                  </a:lnTo>
                  <a:close/>
                </a:path>
                <a:path w="160655" h="267335">
                  <a:moveTo>
                    <a:pt x="104648" y="228092"/>
                  </a:moveTo>
                  <a:lnTo>
                    <a:pt x="89535" y="228092"/>
                  </a:lnTo>
                  <a:lnTo>
                    <a:pt x="90297" y="228854"/>
                  </a:lnTo>
                  <a:lnTo>
                    <a:pt x="90297" y="248411"/>
                  </a:lnTo>
                  <a:lnTo>
                    <a:pt x="89535" y="249936"/>
                  </a:lnTo>
                  <a:lnTo>
                    <a:pt x="104648" y="249936"/>
                  </a:lnTo>
                  <a:lnTo>
                    <a:pt x="104013" y="248411"/>
                  </a:lnTo>
                  <a:lnTo>
                    <a:pt x="104013" y="228854"/>
                  </a:lnTo>
                  <a:lnTo>
                    <a:pt x="104648" y="228092"/>
                  </a:lnTo>
                  <a:close/>
                </a:path>
                <a:path w="160655" h="267335">
                  <a:moveTo>
                    <a:pt x="160274" y="228092"/>
                  </a:moveTo>
                  <a:lnTo>
                    <a:pt x="116205" y="228092"/>
                  </a:lnTo>
                  <a:lnTo>
                    <a:pt x="117729" y="228854"/>
                  </a:lnTo>
                  <a:lnTo>
                    <a:pt x="117729" y="248411"/>
                  </a:lnTo>
                  <a:lnTo>
                    <a:pt x="116205" y="249936"/>
                  </a:lnTo>
                  <a:lnTo>
                    <a:pt x="158964" y="249936"/>
                  </a:lnTo>
                  <a:lnTo>
                    <a:pt x="160274" y="243204"/>
                  </a:lnTo>
                  <a:lnTo>
                    <a:pt x="160274" y="228092"/>
                  </a:lnTo>
                  <a:close/>
                </a:path>
                <a:path w="160655" h="267335">
                  <a:moveTo>
                    <a:pt x="159844" y="21717"/>
                  </a:moveTo>
                  <a:lnTo>
                    <a:pt x="144399" y="21717"/>
                  </a:lnTo>
                  <a:lnTo>
                    <a:pt x="145923" y="23241"/>
                  </a:lnTo>
                  <a:lnTo>
                    <a:pt x="145923" y="210058"/>
                  </a:lnTo>
                  <a:lnTo>
                    <a:pt x="144399" y="211582"/>
                  </a:lnTo>
                  <a:lnTo>
                    <a:pt x="160274" y="211582"/>
                  </a:lnTo>
                  <a:lnTo>
                    <a:pt x="160274" y="24003"/>
                  </a:lnTo>
                  <a:lnTo>
                    <a:pt x="159844" y="2171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" name="object 75">
              <a:extLst>
                <a:ext uri="{FF2B5EF4-FFF2-40B4-BE49-F238E27FC236}">
                  <a16:creationId xmlns:a16="http://schemas.microsoft.com/office/drawing/2014/main" id="{194FE0CE-F2D0-4E20-9A64-777EC857EF98}"/>
                </a:ext>
              </a:extLst>
            </p:cNvPr>
            <p:cNvSpPr/>
            <p:nvPr/>
          </p:nvSpPr>
          <p:spPr>
            <a:xfrm>
              <a:off x="2426963" y="1497872"/>
              <a:ext cx="94233" cy="158242"/>
            </a:xfrm>
            <a:custGeom>
              <a:avLst/>
              <a:gdLst/>
              <a:ahLst/>
              <a:cxnLst/>
              <a:rect l="l" t="t" r="r" b="b"/>
              <a:pathLst>
                <a:path w="104775" h="161289">
                  <a:moveTo>
                    <a:pt x="104775" y="0"/>
                  </a:moveTo>
                  <a:lnTo>
                    <a:pt x="104140" y="0"/>
                  </a:lnTo>
                  <a:lnTo>
                    <a:pt x="103378" y="762"/>
                  </a:lnTo>
                  <a:lnTo>
                    <a:pt x="635" y="158369"/>
                  </a:lnTo>
                  <a:lnTo>
                    <a:pt x="0" y="159766"/>
                  </a:lnTo>
                  <a:lnTo>
                    <a:pt x="0" y="161290"/>
                  </a:lnTo>
                  <a:lnTo>
                    <a:pt x="103378" y="161290"/>
                  </a:lnTo>
                  <a:lnTo>
                    <a:pt x="104775" y="159766"/>
                  </a:lnTo>
                  <a:lnTo>
                    <a:pt x="10477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object 76">
              <a:extLst>
                <a:ext uri="{FF2B5EF4-FFF2-40B4-BE49-F238E27FC236}">
                  <a16:creationId xmlns:a16="http://schemas.microsoft.com/office/drawing/2014/main" id="{B24D6B25-B376-4169-93C3-76FB89185DF9}"/>
                </a:ext>
              </a:extLst>
            </p:cNvPr>
            <p:cNvSpPr/>
            <p:nvPr/>
          </p:nvSpPr>
          <p:spPr>
            <a:xfrm>
              <a:off x="2628793" y="1471830"/>
              <a:ext cx="268423" cy="220542"/>
            </a:xfrm>
            <a:custGeom>
              <a:avLst/>
              <a:gdLst/>
              <a:ahLst/>
              <a:cxnLst/>
              <a:rect l="l" t="t" r="r" b="b"/>
              <a:pathLst>
                <a:path w="298450" h="224789">
                  <a:moveTo>
                    <a:pt x="291338" y="0"/>
                  </a:moveTo>
                  <a:lnTo>
                    <a:pt x="7111" y="0"/>
                  </a:lnTo>
                  <a:lnTo>
                    <a:pt x="0" y="7112"/>
                  </a:lnTo>
                  <a:lnTo>
                    <a:pt x="0" y="217424"/>
                  </a:lnTo>
                  <a:lnTo>
                    <a:pt x="7111" y="224536"/>
                  </a:lnTo>
                  <a:lnTo>
                    <a:pt x="291338" y="224536"/>
                  </a:lnTo>
                  <a:lnTo>
                    <a:pt x="298450" y="217424"/>
                  </a:lnTo>
                  <a:lnTo>
                    <a:pt x="298450" y="215011"/>
                  </a:lnTo>
                  <a:lnTo>
                    <a:pt x="144526" y="215011"/>
                  </a:lnTo>
                  <a:lnTo>
                    <a:pt x="139700" y="211074"/>
                  </a:lnTo>
                  <a:lnTo>
                    <a:pt x="139700" y="200914"/>
                  </a:lnTo>
                  <a:lnTo>
                    <a:pt x="144526" y="196088"/>
                  </a:lnTo>
                  <a:lnTo>
                    <a:pt x="298450" y="196088"/>
                  </a:lnTo>
                  <a:lnTo>
                    <a:pt x="298450" y="187452"/>
                  </a:lnTo>
                  <a:lnTo>
                    <a:pt x="25272" y="187452"/>
                  </a:lnTo>
                  <a:lnTo>
                    <a:pt x="23749" y="185928"/>
                  </a:lnTo>
                  <a:lnTo>
                    <a:pt x="23749" y="25273"/>
                  </a:lnTo>
                  <a:lnTo>
                    <a:pt x="25272" y="23622"/>
                  </a:lnTo>
                  <a:lnTo>
                    <a:pt x="298450" y="23622"/>
                  </a:lnTo>
                  <a:lnTo>
                    <a:pt x="298450" y="7112"/>
                  </a:lnTo>
                  <a:lnTo>
                    <a:pt x="291338" y="0"/>
                  </a:lnTo>
                  <a:close/>
                </a:path>
                <a:path w="298450" h="224789">
                  <a:moveTo>
                    <a:pt x="298450" y="196088"/>
                  </a:moveTo>
                  <a:lnTo>
                    <a:pt x="154686" y="196088"/>
                  </a:lnTo>
                  <a:lnTo>
                    <a:pt x="158623" y="200914"/>
                  </a:lnTo>
                  <a:lnTo>
                    <a:pt x="158623" y="211074"/>
                  </a:lnTo>
                  <a:lnTo>
                    <a:pt x="154686" y="215011"/>
                  </a:lnTo>
                  <a:lnTo>
                    <a:pt x="298450" y="215011"/>
                  </a:lnTo>
                  <a:lnTo>
                    <a:pt x="298450" y="196088"/>
                  </a:lnTo>
                  <a:close/>
                </a:path>
                <a:path w="298450" h="224789">
                  <a:moveTo>
                    <a:pt x="298450" y="23622"/>
                  </a:moveTo>
                  <a:lnTo>
                    <a:pt x="273939" y="23622"/>
                  </a:lnTo>
                  <a:lnTo>
                    <a:pt x="274701" y="25273"/>
                  </a:lnTo>
                  <a:lnTo>
                    <a:pt x="274701" y="185928"/>
                  </a:lnTo>
                  <a:lnTo>
                    <a:pt x="273939" y="187452"/>
                  </a:lnTo>
                  <a:lnTo>
                    <a:pt x="298450" y="187452"/>
                  </a:lnTo>
                  <a:lnTo>
                    <a:pt x="298450" y="236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0" name="object 77">
              <a:extLst>
                <a:ext uri="{FF2B5EF4-FFF2-40B4-BE49-F238E27FC236}">
                  <a16:creationId xmlns:a16="http://schemas.microsoft.com/office/drawing/2014/main" id="{B0738A1E-0430-4198-A6E5-88A8AAAE0776}"/>
                </a:ext>
              </a:extLst>
            </p:cNvPr>
            <p:cNvSpPr/>
            <p:nvPr/>
          </p:nvSpPr>
          <p:spPr>
            <a:xfrm>
              <a:off x="2709664" y="1701467"/>
              <a:ext cx="107369" cy="36135"/>
            </a:xfrm>
            <a:custGeom>
              <a:avLst/>
              <a:gdLst/>
              <a:ahLst/>
              <a:cxnLst/>
              <a:rect l="l" t="t" r="r" b="b"/>
              <a:pathLst>
                <a:path w="119380" h="36830">
                  <a:moveTo>
                    <a:pt x="102616" y="0"/>
                  </a:moveTo>
                  <a:lnTo>
                    <a:pt x="15875" y="0"/>
                  </a:lnTo>
                  <a:lnTo>
                    <a:pt x="19002" y="6848"/>
                  </a:lnTo>
                  <a:lnTo>
                    <a:pt x="17653" y="14589"/>
                  </a:lnTo>
                  <a:lnTo>
                    <a:pt x="11445" y="21734"/>
                  </a:lnTo>
                  <a:lnTo>
                    <a:pt x="0" y="26797"/>
                  </a:lnTo>
                  <a:lnTo>
                    <a:pt x="0" y="36322"/>
                  </a:lnTo>
                  <a:lnTo>
                    <a:pt x="119126" y="36322"/>
                  </a:lnTo>
                  <a:lnTo>
                    <a:pt x="119126" y="26797"/>
                  </a:lnTo>
                  <a:lnTo>
                    <a:pt x="107563" y="21734"/>
                  </a:lnTo>
                  <a:lnTo>
                    <a:pt x="101107" y="14589"/>
                  </a:lnTo>
                  <a:lnTo>
                    <a:pt x="99534" y="6848"/>
                  </a:lnTo>
                  <a:lnTo>
                    <a:pt x="10261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1" name="object 78">
              <a:extLst>
                <a:ext uri="{FF2B5EF4-FFF2-40B4-BE49-F238E27FC236}">
                  <a16:creationId xmlns:a16="http://schemas.microsoft.com/office/drawing/2014/main" id="{BB2779A8-D91D-4D33-B2F8-C0AEB3757179}"/>
                </a:ext>
              </a:extLst>
            </p:cNvPr>
            <p:cNvSpPr/>
            <p:nvPr/>
          </p:nvSpPr>
          <p:spPr>
            <a:xfrm>
              <a:off x="2675966" y="1523789"/>
              <a:ext cx="38265" cy="75382"/>
            </a:xfrm>
            <a:custGeom>
              <a:avLst/>
              <a:gdLst/>
              <a:ahLst/>
              <a:cxnLst/>
              <a:rect l="l" t="t" r="r" b="b"/>
              <a:pathLst>
                <a:path w="42544" h="76835">
                  <a:moveTo>
                    <a:pt x="26848" y="49530"/>
                  </a:moveTo>
                  <a:lnTo>
                    <a:pt x="13081" y="49530"/>
                  </a:lnTo>
                  <a:lnTo>
                    <a:pt x="24384" y="76327"/>
                  </a:lnTo>
                  <a:lnTo>
                    <a:pt x="35179" y="71501"/>
                  </a:lnTo>
                  <a:lnTo>
                    <a:pt x="26848" y="49530"/>
                  </a:lnTo>
                  <a:close/>
                </a:path>
                <a:path w="42544" h="76835">
                  <a:moveTo>
                    <a:pt x="0" y="0"/>
                  </a:moveTo>
                  <a:lnTo>
                    <a:pt x="0" y="60833"/>
                  </a:lnTo>
                  <a:lnTo>
                    <a:pt x="13081" y="49530"/>
                  </a:lnTo>
                  <a:lnTo>
                    <a:pt x="26848" y="49530"/>
                  </a:lnTo>
                  <a:lnTo>
                    <a:pt x="25019" y="44704"/>
                  </a:lnTo>
                  <a:lnTo>
                    <a:pt x="42291" y="440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object 79">
              <a:extLst>
                <a:ext uri="{FF2B5EF4-FFF2-40B4-BE49-F238E27FC236}">
                  <a16:creationId xmlns:a16="http://schemas.microsoft.com/office/drawing/2014/main" id="{6FAABEBB-C047-4CED-BC03-1E246692B4F4}"/>
                </a:ext>
              </a:extLst>
            </p:cNvPr>
            <p:cNvSpPr/>
            <p:nvPr/>
          </p:nvSpPr>
          <p:spPr>
            <a:xfrm>
              <a:off x="9298805" y="1471830"/>
              <a:ext cx="268423" cy="220542"/>
            </a:xfrm>
            <a:custGeom>
              <a:avLst/>
              <a:gdLst/>
              <a:ahLst/>
              <a:cxnLst/>
              <a:rect l="l" t="t" r="r" b="b"/>
              <a:pathLst>
                <a:path w="298450" h="224789">
                  <a:moveTo>
                    <a:pt x="291338" y="0"/>
                  </a:moveTo>
                  <a:lnTo>
                    <a:pt x="7111" y="0"/>
                  </a:lnTo>
                  <a:lnTo>
                    <a:pt x="0" y="7112"/>
                  </a:lnTo>
                  <a:lnTo>
                    <a:pt x="0" y="217424"/>
                  </a:lnTo>
                  <a:lnTo>
                    <a:pt x="7111" y="224536"/>
                  </a:lnTo>
                  <a:lnTo>
                    <a:pt x="291338" y="224536"/>
                  </a:lnTo>
                  <a:lnTo>
                    <a:pt x="298450" y="217424"/>
                  </a:lnTo>
                  <a:lnTo>
                    <a:pt x="298450" y="215011"/>
                  </a:lnTo>
                  <a:lnTo>
                    <a:pt x="144526" y="215011"/>
                  </a:lnTo>
                  <a:lnTo>
                    <a:pt x="139827" y="211074"/>
                  </a:lnTo>
                  <a:lnTo>
                    <a:pt x="139827" y="200914"/>
                  </a:lnTo>
                  <a:lnTo>
                    <a:pt x="144526" y="196088"/>
                  </a:lnTo>
                  <a:lnTo>
                    <a:pt x="298450" y="196088"/>
                  </a:lnTo>
                  <a:lnTo>
                    <a:pt x="298450" y="187452"/>
                  </a:lnTo>
                  <a:lnTo>
                    <a:pt x="25272" y="187452"/>
                  </a:lnTo>
                  <a:lnTo>
                    <a:pt x="23749" y="185928"/>
                  </a:lnTo>
                  <a:lnTo>
                    <a:pt x="23749" y="25273"/>
                  </a:lnTo>
                  <a:lnTo>
                    <a:pt x="25272" y="23622"/>
                  </a:lnTo>
                  <a:lnTo>
                    <a:pt x="298450" y="23622"/>
                  </a:lnTo>
                  <a:lnTo>
                    <a:pt x="298450" y="7112"/>
                  </a:lnTo>
                  <a:lnTo>
                    <a:pt x="291338" y="0"/>
                  </a:lnTo>
                  <a:close/>
                </a:path>
                <a:path w="298450" h="224789">
                  <a:moveTo>
                    <a:pt x="298450" y="196088"/>
                  </a:moveTo>
                  <a:lnTo>
                    <a:pt x="154813" y="196088"/>
                  </a:lnTo>
                  <a:lnTo>
                    <a:pt x="158750" y="200914"/>
                  </a:lnTo>
                  <a:lnTo>
                    <a:pt x="158750" y="211074"/>
                  </a:lnTo>
                  <a:lnTo>
                    <a:pt x="154813" y="215011"/>
                  </a:lnTo>
                  <a:lnTo>
                    <a:pt x="298450" y="215011"/>
                  </a:lnTo>
                  <a:lnTo>
                    <a:pt x="298450" y="196088"/>
                  </a:lnTo>
                  <a:close/>
                </a:path>
                <a:path w="298450" h="224789">
                  <a:moveTo>
                    <a:pt x="298450" y="23622"/>
                  </a:moveTo>
                  <a:lnTo>
                    <a:pt x="273939" y="23622"/>
                  </a:lnTo>
                  <a:lnTo>
                    <a:pt x="274701" y="25273"/>
                  </a:lnTo>
                  <a:lnTo>
                    <a:pt x="274701" y="185928"/>
                  </a:lnTo>
                  <a:lnTo>
                    <a:pt x="273939" y="187452"/>
                  </a:lnTo>
                  <a:lnTo>
                    <a:pt x="298450" y="187452"/>
                  </a:lnTo>
                  <a:lnTo>
                    <a:pt x="298450" y="236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object 80">
              <a:extLst>
                <a:ext uri="{FF2B5EF4-FFF2-40B4-BE49-F238E27FC236}">
                  <a16:creationId xmlns:a16="http://schemas.microsoft.com/office/drawing/2014/main" id="{4C04D836-3767-4234-88B4-1E408E3DA9A4}"/>
                </a:ext>
              </a:extLst>
            </p:cNvPr>
            <p:cNvSpPr/>
            <p:nvPr/>
          </p:nvSpPr>
          <p:spPr>
            <a:xfrm>
              <a:off x="9379789" y="1701467"/>
              <a:ext cx="107369" cy="36135"/>
            </a:xfrm>
            <a:custGeom>
              <a:avLst/>
              <a:gdLst/>
              <a:ahLst/>
              <a:cxnLst/>
              <a:rect l="l" t="t" r="r" b="b"/>
              <a:pathLst>
                <a:path w="119379" h="36830">
                  <a:moveTo>
                    <a:pt x="102489" y="0"/>
                  </a:moveTo>
                  <a:lnTo>
                    <a:pt x="15748" y="0"/>
                  </a:lnTo>
                  <a:lnTo>
                    <a:pt x="18948" y="6848"/>
                  </a:lnTo>
                  <a:lnTo>
                    <a:pt x="17637" y="14589"/>
                  </a:lnTo>
                  <a:lnTo>
                    <a:pt x="11443" y="21734"/>
                  </a:lnTo>
                  <a:lnTo>
                    <a:pt x="0" y="26797"/>
                  </a:lnTo>
                  <a:lnTo>
                    <a:pt x="0" y="36322"/>
                  </a:lnTo>
                  <a:lnTo>
                    <a:pt x="118999" y="36322"/>
                  </a:lnTo>
                  <a:lnTo>
                    <a:pt x="118999" y="26797"/>
                  </a:lnTo>
                  <a:lnTo>
                    <a:pt x="107436" y="21734"/>
                  </a:lnTo>
                  <a:lnTo>
                    <a:pt x="100980" y="14589"/>
                  </a:lnTo>
                  <a:lnTo>
                    <a:pt x="99407" y="6848"/>
                  </a:lnTo>
                  <a:lnTo>
                    <a:pt x="10248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4" name="object 81">
              <a:extLst>
                <a:ext uri="{FF2B5EF4-FFF2-40B4-BE49-F238E27FC236}">
                  <a16:creationId xmlns:a16="http://schemas.microsoft.com/office/drawing/2014/main" id="{F41E7CBB-D5C7-4FF1-A209-A12F3A476B5E}"/>
                </a:ext>
              </a:extLst>
            </p:cNvPr>
            <p:cNvSpPr/>
            <p:nvPr/>
          </p:nvSpPr>
          <p:spPr>
            <a:xfrm>
              <a:off x="9345980" y="1523789"/>
              <a:ext cx="38265" cy="75382"/>
            </a:xfrm>
            <a:custGeom>
              <a:avLst/>
              <a:gdLst/>
              <a:ahLst/>
              <a:cxnLst/>
              <a:rect l="l" t="t" r="r" b="b"/>
              <a:pathLst>
                <a:path w="42545" h="76835">
                  <a:moveTo>
                    <a:pt x="26848" y="49530"/>
                  </a:moveTo>
                  <a:lnTo>
                    <a:pt x="13081" y="49530"/>
                  </a:lnTo>
                  <a:lnTo>
                    <a:pt x="24384" y="76327"/>
                  </a:lnTo>
                  <a:lnTo>
                    <a:pt x="35179" y="71501"/>
                  </a:lnTo>
                  <a:lnTo>
                    <a:pt x="26848" y="49530"/>
                  </a:lnTo>
                  <a:close/>
                </a:path>
                <a:path w="42545" h="76835">
                  <a:moveTo>
                    <a:pt x="0" y="0"/>
                  </a:moveTo>
                  <a:lnTo>
                    <a:pt x="0" y="60833"/>
                  </a:lnTo>
                  <a:lnTo>
                    <a:pt x="13081" y="49530"/>
                  </a:lnTo>
                  <a:lnTo>
                    <a:pt x="26848" y="49530"/>
                  </a:lnTo>
                  <a:lnTo>
                    <a:pt x="25019" y="44704"/>
                  </a:lnTo>
                  <a:lnTo>
                    <a:pt x="42291" y="440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5" name="object 82">
              <a:extLst>
                <a:ext uri="{FF2B5EF4-FFF2-40B4-BE49-F238E27FC236}">
                  <a16:creationId xmlns:a16="http://schemas.microsoft.com/office/drawing/2014/main" id="{8D7F35F7-843D-43C3-916E-A8B91160461E}"/>
                </a:ext>
              </a:extLst>
            </p:cNvPr>
            <p:cNvSpPr/>
            <p:nvPr/>
          </p:nvSpPr>
          <p:spPr>
            <a:xfrm>
              <a:off x="9018390" y="1461863"/>
              <a:ext cx="144491" cy="262282"/>
            </a:xfrm>
            <a:custGeom>
              <a:avLst/>
              <a:gdLst/>
              <a:ahLst/>
              <a:cxnLst/>
              <a:rect l="l" t="t" r="r" b="b"/>
              <a:pathLst>
                <a:path w="160654" h="267335">
                  <a:moveTo>
                    <a:pt x="137159" y="0"/>
                  </a:moveTo>
                  <a:lnTo>
                    <a:pt x="23113" y="0"/>
                  </a:lnTo>
                  <a:lnTo>
                    <a:pt x="13983" y="1857"/>
                  </a:lnTo>
                  <a:lnTo>
                    <a:pt x="6651" y="6953"/>
                  </a:lnTo>
                  <a:lnTo>
                    <a:pt x="1772" y="14573"/>
                  </a:lnTo>
                  <a:lnTo>
                    <a:pt x="0" y="24003"/>
                  </a:lnTo>
                  <a:lnTo>
                    <a:pt x="0" y="243204"/>
                  </a:lnTo>
                  <a:lnTo>
                    <a:pt x="1772" y="252313"/>
                  </a:lnTo>
                  <a:lnTo>
                    <a:pt x="6651" y="259969"/>
                  </a:lnTo>
                  <a:lnTo>
                    <a:pt x="13983" y="265243"/>
                  </a:lnTo>
                  <a:lnTo>
                    <a:pt x="23113" y="267208"/>
                  </a:lnTo>
                  <a:lnTo>
                    <a:pt x="137159" y="267208"/>
                  </a:lnTo>
                  <a:lnTo>
                    <a:pt x="146290" y="265243"/>
                  </a:lnTo>
                  <a:lnTo>
                    <a:pt x="153622" y="259969"/>
                  </a:lnTo>
                  <a:lnTo>
                    <a:pt x="158501" y="252313"/>
                  </a:lnTo>
                  <a:lnTo>
                    <a:pt x="158964" y="249936"/>
                  </a:lnTo>
                  <a:lnTo>
                    <a:pt x="44068" y="249936"/>
                  </a:lnTo>
                  <a:lnTo>
                    <a:pt x="42544" y="248411"/>
                  </a:lnTo>
                  <a:lnTo>
                    <a:pt x="42544" y="228854"/>
                  </a:lnTo>
                  <a:lnTo>
                    <a:pt x="44068" y="228092"/>
                  </a:lnTo>
                  <a:lnTo>
                    <a:pt x="160273" y="228092"/>
                  </a:lnTo>
                  <a:lnTo>
                    <a:pt x="160273" y="211582"/>
                  </a:lnTo>
                  <a:lnTo>
                    <a:pt x="15112" y="211582"/>
                  </a:lnTo>
                  <a:lnTo>
                    <a:pt x="14350" y="210058"/>
                  </a:lnTo>
                  <a:lnTo>
                    <a:pt x="14350" y="23241"/>
                  </a:lnTo>
                  <a:lnTo>
                    <a:pt x="15112" y="21717"/>
                  </a:lnTo>
                  <a:lnTo>
                    <a:pt x="159844" y="21717"/>
                  </a:lnTo>
                  <a:lnTo>
                    <a:pt x="158501" y="14573"/>
                  </a:lnTo>
                  <a:lnTo>
                    <a:pt x="153622" y="6953"/>
                  </a:lnTo>
                  <a:lnTo>
                    <a:pt x="146290" y="1857"/>
                  </a:lnTo>
                  <a:lnTo>
                    <a:pt x="137159" y="0"/>
                  </a:lnTo>
                  <a:close/>
                </a:path>
                <a:path w="160654" h="267335">
                  <a:moveTo>
                    <a:pt x="70738" y="228092"/>
                  </a:moveTo>
                  <a:lnTo>
                    <a:pt x="54863" y="228092"/>
                  </a:lnTo>
                  <a:lnTo>
                    <a:pt x="56260" y="228854"/>
                  </a:lnTo>
                  <a:lnTo>
                    <a:pt x="56260" y="248411"/>
                  </a:lnTo>
                  <a:lnTo>
                    <a:pt x="54863" y="249936"/>
                  </a:lnTo>
                  <a:lnTo>
                    <a:pt x="70738" y="249936"/>
                  </a:lnTo>
                  <a:lnTo>
                    <a:pt x="69341" y="248411"/>
                  </a:lnTo>
                  <a:lnTo>
                    <a:pt x="69341" y="228854"/>
                  </a:lnTo>
                  <a:lnTo>
                    <a:pt x="70738" y="228092"/>
                  </a:lnTo>
                  <a:close/>
                </a:path>
                <a:path w="160654" h="267335">
                  <a:moveTo>
                    <a:pt x="104647" y="228092"/>
                  </a:moveTo>
                  <a:lnTo>
                    <a:pt x="89534" y="228092"/>
                  </a:lnTo>
                  <a:lnTo>
                    <a:pt x="90296" y="228854"/>
                  </a:lnTo>
                  <a:lnTo>
                    <a:pt x="90296" y="248411"/>
                  </a:lnTo>
                  <a:lnTo>
                    <a:pt x="89534" y="249936"/>
                  </a:lnTo>
                  <a:lnTo>
                    <a:pt x="104647" y="249936"/>
                  </a:lnTo>
                  <a:lnTo>
                    <a:pt x="104012" y="248411"/>
                  </a:lnTo>
                  <a:lnTo>
                    <a:pt x="104012" y="228854"/>
                  </a:lnTo>
                  <a:lnTo>
                    <a:pt x="104647" y="228092"/>
                  </a:lnTo>
                  <a:close/>
                </a:path>
                <a:path w="160654" h="267335">
                  <a:moveTo>
                    <a:pt x="160273" y="228092"/>
                  </a:moveTo>
                  <a:lnTo>
                    <a:pt x="116204" y="228092"/>
                  </a:lnTo>
                  <a:lnTo>
                    <a:pt x="117728" y="228854"/>
                  </a:lnTo>
                  <a:lnTo>
                    <a:pt x="117728" y="248411"/>
                  </a:lnTo>
                  <a:lnTo>
                    <a:pt x="116204" y="249936"/>
                  </a:lnTo>
                  <a:lnTo>
                    <a:pt x="158964" y="249936"/>
                  </a:lnTo>
                  <a:lnTo>
                    <a:pt x="160273" y="243204"/>
                  </a:lnTo>
                  <a:lnTo>
                    <a:pt x="160273" y="228092"/>
                  </a:lnTo>
                  <a:close/>
                </a:path>
                <a:path w="160654" h="267335">
                  <a:moveTo>
                    <a:pt x="159844" y="21717"/>
                  </a:moveTo>
                  <a:lnTo>
                    <a:pt x="144398" y="21717"/>
                  </a:lnTo>
                  <a:lnTo>
                    <a:pt x="145922" y="23241"/>
                  </a:lnTo>
                  <a:lnTo>
                    <a:pt x="145922" y="210058"/>
                  </a:lnTo>
                  <a:lnTo>
                    <a:pt x="144398" y="211582"/>
                  </a:lnTo>
                  <a:lnTo>
                    <a:pt x="160273" y="211582"/>
                  </a:lnTo>
                  <a:lnTo>
                    <a:pt x="160273" y="24003"/>
                  </a:lnTo>
                  <a:lnTo>
                    <a:pt x="159844" y="2171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object 83">
              <a:extLst>
                <a:ext uri="{FF2B5EF4-FFF2-40B4-BE49-F238E27FC236}">
                  <a16:creationId xmlns:a16="http://schemas.microsoft.com/office/drawing/2014/main" id="{60F3047A-BAAF-4302-AC0A-AAB59DD62F14}"/>
                </a:ext>
              </a:extLst>
            </p:cNvPr>
            <p:cNvSpPr/>
            <p:nvPr/>
          </p:nvSpPr>
          <p:spPr>
            <a:xfrm>
              <a:off x="9043633" y="1497872"/>
              <a:ext cx="94233" cy="158242"/>
            </a:xfrm>
            <a:custGeom>
              <a:avLst/>
              <a:gdLst/>
              <a:ahLst/>
              <a:cxnLst/>
              <a:rect l="l" t="t" r="r" b="b"/>
              <a:pathLst>
                <a:path w="104775" h="161289">
                  <a:moveTo>
                    <a:pt x="104774" y="0"/>
                  </a:moveTo>
                  <a:lnTo>
                    <a:pt x="104139" y="0"/>
                  </a:lnTo>
                  <a:lnTo>
                    <a:pt x="103377" y="762"/>
                  </a:lnTo>
                  <a:lnTo>
                    <a:pt x="634" y="158369"/>
                  </a:lnTo>
                  <a:lnTo>
                    <a:pt x="0" y="159766"/>
                  </a:lnTo>
                  <a:lnTo>
                    <a:pt x="0" y="161290"/>
                  </a:lnTo>
                  <a:lnTo>
                    <a:pt x="103377" y="161290"/>
                  </a:lnTo>
                  <a:lnTo>
                    <a:pt x="104774" y="159766"/>
                  </a:lnTo>
                  <a:lnTo>
                    <a:pt x="10477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7" name="object 84">
              <a:extLst>
                <a:ext uri="{FF2B5EF4-FFF2-40B4-BE49-F238E27FC236}">
                  <a16:creationId xmlns:a16="http://schemas.microsoft.com/office/drawing/2014/main" id="{503A70A7-5220-4BBD-A103-AAD95A79368C}"/>
                </a:ext>
              </a:extLst>
            </p:cNvPr>
            <p:cNvSpPr/>
            <p:nvPr/>
          </p:nvSpPr>
          <p:spPr>
            <a:xfrm>
              <a:off x="9618742" y="1437203"/>
              <a:ext cx="320965" cy="30064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8" name="object 85">
              <a:extLst>
                <a:ext uri="{FF2B5EF4-FFF2-40B4-BE49-F238E27FC236}">
                  <a16:creationId xmlns:a16="http://schemas.microsoft.com/office/drawing/2014/main" id="{0F0401D8-2FAA-4711-8DA3-5008039D1C56}"/>
                </a:ext>
              </a:extLst>
            </p:cNvPr>
            <p:cNvSpPr/>
            <p:nvPr/>
          </p:nvSpPr>
          <p:spPr>
            <a:xfrm>
              <a:off x="1632216" y="1439147"/>
              <a:ext cx="473793" cy="290354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object 87">
              <a:extLst>
                <a:ext uri="{FF2B5EF4-FFF2-40B4-BE49-F238E27FC236}">
                  <a16:creationId xmlns:a16="http://schemas.microsoft.com/office/drawing/2014/main" id="{4E2E07CD-2C59-4CCC-8557-16D34AB7604B}"/>
                </a:ext>
              </a:extLst>
            </p:cNvPr>
            <p:cNvSpPr/>
            <p:nvPr/>
          </p:nvSpPr>
          <p:spPr>
            <a:xfrm>
              <a:off x="1916492" y="1583585"/>
              <a:ext cx="69104" cy="110270"/>
            </a:xfrm>
            <a:custGeom>
              <a:avLst/>
              <a:gdLst/>
              <a:ahLst/>
              <a:cxnLst/>
              <a:rect l="l" t="t" r="r" b="b"/>
              <a:pathLst>
                <a:path w="76834" h="112394">
                  <a:moveTo>
                    <a:pt x="0" y="112280"/>
                  </a:moveTo>
                  <a:lnTo>
                    <a:pt x="76441" y="112280"/>
                  </a:lnTo>
                  <a:lnTo>
                    <a:pt x="76441" y="0"/>
                  </a:lnTo>
                  <a:lnTo>
                    <a:pt x="0" y="0"/>
                  </a:lnTo>
                  <a:lnTo>
                    <a:pt x="0" y="11228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0" name="object 88">
              <a:extLst>
                <a:ext uri="{FF2B5EF4-FFF2-40B4-BE49-F238E27FC236}">
                  <a16:creationId xmlns:a16="http://schemas.microsoft.com/office/drawing/2014/main" id="{7A1BB82B-93B0-410F-8104-E245BC106A2C}"/>
                </a:ext>
              </a:extLst>
            </p:cNvPr>
            <p:cNvSpPr/>
            <p:nvPr/>
          </p:nvSpPr>
          <p:spPr>
            <a:xfrm>
              <a:off x="1922535" y="1595808"/>
              <a:ext cx="51971" cy="91581"/>
            </a:xfrm>
            <a:custGeom>
              <a:avLst/>
              <a:gdLst/>
              <a:ahLst/>
              <a:cxnLst/>
              <a:rect l="l" t="t" r="r" b="b"/>
              <a:pathLst>
                <a:path w="57784" h="93344">
                  <a:moveTo>
                    <a:pt x="32058" y="40260"/>
                  </a:moveTo>
                  <a:lnTo>
                    <a:pt x="18258" y="48124"/>
                  </a:lnTo>
                  <a:lnTo>
                    <a:pt x="43751" y="92837"/>
                  </a:lnTo>
                  <a:lnTo>
                    <a:pt x="57556" y="84963"/>
                  </a:lnTo>
                  <a:lnTo>
                    <a:pt x="32058" y="40260"/>
                  </a:lnTo>
                  <a:close/>
                </a:path>
                <a:path w="57784" h="93344">
                  <a:moveTo>
                    <a:pt x="0" y="0"/>
                  </a:moveTo>
                  <a:lnTo>
                    <a:pt x="3086" y="56769"/>
                  </a:lnTo>
                  <a:lnTo>
                    <a:pt x="18258" y="48124"/>
                  </a:lnTo>
                  <a:lnTo>
                    <a:pt x="11963" y="37084"/>
                  </a:lnTo>
                  <a:lnTo>
                    <a:pt x="25755" y="29210"/>
                  </a:lnTo>
                  <a:lnTo>
                    <a:pt x="43615" y="29210"/>
                  </a:lnTo>
                  <a:lnTo>
                    <a:pt x="0" y="0"/>
                  </a:lnTo>
                  <a:close/>
                </a:path>
                <a:path w="57784" h="93344">
                  <a:moveTo>
                    <a:pt x="25755" y="29210"/>
                  </a:moveTo>
                  <a:lnTo>
                    <a:pt x="11963" y="37084"/>
                  </a:lnTo>
                  <a:lnTo>
                    <a:pt x="18258" y="48124"/>
                  </a:lnTo>
                  <a:lnTo>
                    <a:pt x="32058" y="40260"/>
                  </a:lnTo>
                  <a:lnTo>
                    <a:pt x="25755" y="29210"/>
                  </a:lnTo>
                  <a:close/>
                </a:path>
                <a:path w="57784" h="93344">
                  <a:moveTo>
                    <a:pt x="43615" y="29210"/>
                  </a:moveTo>
                  <a:lnTo>
                    <a:pt x="25755" y="29210"/>
                  </a:lnTo>
                  <a:lnTo>
                    <a:pt x="32058" y="40260"/>
                  </a:lnTo>
                  <a:lnTo>
                    <a:pt x="47218" y="31623"/>
                  </a:lnTo>
                  <a:lnTo>
                    <a:pt x="43615" y="29210"/>
                  </a:lnTo>
                  <a:close/>
                </a:path>
              </a:pathLst>
            </a:custGeom>
            <a:solidFill>
              <a:srgbClr val="4D4E52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36BB5651-E5A2-48D8-BA89-B48A1E106657}"/>
                </a:ext>
              </a:extLst>
            </p:cNvPr>
            <p:cNvSpPr txBox="1"/>
            <p:nvPr/>
          </p:nvSpPr>
          <p:spPr>
            <a:xfrm>
              <a:off x="3712993" y="2533202"/>
              <a:ext cx="69313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eb Portal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769F0E2-E80E-45BA-88E1-5B003B63DE30}"/>
                </a:ext>
              </a:extLst>
            </p:cNvPr>
            <p:cNvSpPr txBox="1"/>
            <p:nvPr/>
          </p:nvSpPr>
          <p:spPr>
            <a:xfrm>
              <a:off x="8143675" y="2514335"/>
              <a:ext cx="498726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atbot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1BABD6A6-A028-4ADC-9F64-816F5F26076B}"/>
                </a:ext>
              </a:extLst>
            </p:cNvPr>
            <p:cNvSpPr txBox="1"/>
            <p:nvPr/>
          </p:nvSpPr>
          <p:spPr>
            <a:xfrm>
              <a:off x="9406508" y="2498118"/>
              <a:ext cx="60792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yments</a:t>
              </a:r>
            </a:p>
          </p:txBody>
        </p:sp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F5634CFE-7D31-4326-93C7-E81130560A67}"/>
                </a:ext>
              </a:extLst>
            </p:cNvPr>
            <p:cNvGrpSpPr/>
            <p:nvPr/>
          </p:nvGrpSpPr>
          <p:grpSpPr>
            <a:xfrm>
              <a:off x="6566901" y="1940024"/>
              <a:ext cx="907171" cy="758977"/>
              <a:chOff x="4176323" y="1790943"/>
              <a:chExt cx="907171" cy="758977"/>
            </a:xfrm>
          </p:grpSpPr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FF591B19-66D8-4974-9149-87D371D1B151}"/>
                  </a:ext>
                </a:extLst>
              </p:cNvPr>
              <p:cNvSpPr txBox="1"/>
              <p:nvPr/>
            </p:nvSpPr>
            <p:spPr>
              <a:xfrm>
                <a:off x="4176323" y="2365254"/>
                <a:ext cx="90717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ustomer care</a:t>
                </a:r>
              </a:p>
            </p:txBody>
          </p:sp>
          <p:sp>
            <p:nvSpPr>
              <p:cNvPr id="93" name="Freeform 158">
                <a:extLst>
                  <a:ext uri="{FF2B5EF4-FFF2-40B4-BE49-F238E27FC236}">
                    <a16:creationId xmlns:a16="http://schemas.microsoft.com/office/drawing/2014/main" id="{B126736E-934B-4169-B685-8070B6FA4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7229" y="1790943"/>
                <a:ext cx="495590" cy="487846"/>
              </a:xfrm>
              <a:custGeom>
                <a:avLst/>
                <a:gdLst>
                  <a:gd name="T0" fmla="*/ 256 w 256"/>
                  <a:gd name="T1" fmla="*/ 128 h 252"/>
                  <a:gd name="T2" fmla="*/ 254 w 256"/>
                  <a:gd name="T3" fmla="*/ 102 h 252"/>
                  <a:gd name="T4" fmla="*/ 246 w 256"/>
                  <a:gd name="T5" fmla="*/ 78 h 252"/>
                  <a:gd name="T6" fmla="*/ 234 w 256"/>
                  <a:gd name="T7" fmla="*/ 56 h 252"/>
                  <a:gd name="T8" fmla="*/ 200 w 256"/>
                  <a:gd name="T9" fmla="*/ 22 h 252"/>
                  <a:gd name="T10" fmla="*/ 178 w 256"/>
                  <a:gd name="T11" fmla="*/ 10 h 252"/>
                  <a:gd name="T12" fmla="*/ 154 w 256"/>
                  <a:gd name="T13" fmla="*/ 2 h 252"/>
                  <a:gd name="T14" fmla="*/ 128 w 256"/>
                  <a:gd name="T15" fmla="*/ 0 h 252"/>
                  <a:gd name="T16" fmla="*/ 116 w 256"/>
                  <a:gd name="T17" fmla="*/ 0 h 252"/>
                  <a:gd name="T18" fmla="*/ 90 w 256"/>
                  <a:gd name="T19" fmla="*/ 6 h 252"/>
                  <a:gd name="T20" fmla="*/ 68 w 256"/>
                  <a:gd name="T21" fmla="*/ 16 h 252"/>
                  <a:gd name="T22" fmla="*/ 38 w 256"/>
                  <a:gd name="T23" fmla="*/ 38 h 252"/>
                  <a:gd name="T24" fmla="*/ 16 w 256"/>
                  <a:gd name="T25" fmla="*/ 66 h 252"/>
                  <a:gd name="T26" fmla="*/ 6 w 256"/>
                  <a:gd name="T27" fmla="*/ 90 h 252"/>
                  <a:gd name="T28" fmla="*/ 0 w 256"/>
                  <a:gd name="T29" fmla="*/ 114 h 252"/>
                  <a:gd name="T30" fmla="*/ 0 w 256"/>
                  <a:gd name="T31" fmla="*/ 128 h 252"/>
                  <a:gd name="T32" fmla="*/ 20 w 256"/>
                  <a:gd name="T33" fmla="*/ 142 h 252"/>
                  <a:gd name="T34" fmla="*/ 18 w 256"/>
                  <a:gd name="T35" fmla="*/ 128 h 252"/>
                  <a:gd name="T36" fmla="*/ 22 w 256"/>
                  <a:gd name="T37" fmla="*/ 106 h 252"/>
                  <a:gd name="T38" fmla="*/ 38 w 256"/>
                  <a:gd name="T39" fmla="*/ 66 h 252"/>
                  <a:gd name="T40" fmla="*/ 68 w 256"/>
                  <a:gd name="T41" fmla="*/ 38 h 252"/>
                  <a:gd name="T42" fmla="*/ 106 w 256"/>
                  <a:gd name="T43" fmla="*/ 20 h 252"/>
                  <a:gd name="T44" fmla="*/ 128 w 256"/>
                  <a:gd name="T45" fmla="*/ 18 h 252"/>
                  <a:gd name="T46" fmla="*/ 172 w 256"/>
                  <a:gd name="T47" fmla="*/ 28 h 252"/>
                  <a:gd name="T48" fmla="*/ 206 w 256"/>
                  <a:gd name="T49" fmla="*/ 50 h 252"/>
                  <a:gd name="T50" fmla="*/ 230 w 256"/>
                  <a:gd name="T51" fmla="*/ 86 h 252"/>
                  <a:gd name="T52" fmla="*/ 238 w 256"/>
                  <a:gd name="T53" fmla="*/ 128 h 252"/>
                  <a:gd name="T54" fmla="*/ 236 w 256"/>
                  <a:gd name="T55" fmla="*/ 146 h 252"/>
                  <a:gd name="T56" fmla="*/ 226 w 256"/>
                  <a:gd name="T57" fmla="*/ 180 h 252"/>
                  <a:gd name="T58" fmla="*/ 204 w 256"/>
                  <a:gd name="T59" fmla="*/ 208 h 252"/>
                  <a:gd name="T60" fmla="*/ 176 w 256"/>
                  <a:gd name="T61" fmla="*/ 226 h 252"/>
                  <a:gd name="T62" fmla="*/ 160 w 256"/>
                  <a:gd name="T63" fmla="*/ 252 h 252"/>
                  <a:gd name="T64" fmla="*/ 180 w 256"/>
                  <a:gd name="T65" fmla="*/ 246 h 252"/>
                  <a:gd name="T66" fmla="*/ 214 w 256"/>
                  <a:gd name="T67" fmla="*/ 224 h 252"/>
                  <a:gd name="T68" fmla="*/ 240 w 256"/>
                  <a:gd name="T69" fmla="*/ 190 h 252"/>
                  <a:gd name="T70" fmla="*/ 254 w 256"/>
                  <a:gd name="T71" fmla="*/ 150 h 252"/>
                  <a:gd name="T72" fmla="*/ 256 w 256"/>
                  <a:gd name="T73" fmla="*/ 128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56" h="252">
                    <a:moveTo>
                      <a:pt x="256" y="128"/>
                    </a:moveTo>
                    <a:lnTo>
                      <a:pt x="256" y="128"/>
                    </a:lnTo>
                    <a:lnTo>
                      <a:pt x="256" y="114"/>
                    </a:lnTo>
                    <a:lnTo>
                      <a:pt x="254" y="102"/>
                    </a:lnTo>
                    <a:lnTo>
                      <a:pt x="252" y="90"/>
                    </a:lnTo>
                    <a:lnTo>
                      <a:pt x="246" y="78"/>
                    </a:lnTo>
                    <a:lnTo>
                      <a:pt x="242" y="66"/>
                    </a:lnTo>
                    <a:lnTo>
                      <a:pt x="234" y="56"/>
                    </a:lnTo>
                    <a:lnTo>
                      <a:pt x="220" y="38"/>
                    </a:lnTo>
                    <a:lnTo>
                      <a:pt x="200" y="22"/>
                    </a:lnTo>
                    <a:lnTo>
                      <a:pt x="190" y="16"/>
                    </a:lnTo>
                    <a:lnTo>
                      <a:pt x="178" y="10"/>
                    </a:lnTo>
                    <a:lnTo>
                      <a:pt x="166" y="6"/>
                    </a:lnTo>
                    <a:lnTo>
                      <a:pt x="154" y="2"/>
                    </a:lnTo>
                    <a:lnTo>
                      <a:pt x="142" y="0"/>
                    </a:lnTo>
                    <a:lnTo>
                      <a:pt x="128" y="0"/>
                    </a:lnTo>
                    <a:lnTo>
                      <a:pt x="128" y="0"/>
                    </a:lnTo>
                    <a:lnTo>
                      <a:pt x="116" y="0"/>
                    </a:lnTo>
                    <a:lnTo>
                      <a:pt x="102" y="2"/>
                    </a:lnTo>
                    <a:lnTo>
                      <a:pt x="90" y="6"/>
                    </a:lnTo>
                    <a:lnTo>
                      <a:pt x="78" y="10"/>
                    </a:lnTo>
                    <a:lnTo>
                      <a:pt x="68" y="16"/>
                    </a:lnTo>
                    <a:lnTo>
                      <a:pt x="56" y="22"/>
                    </a:lnTo>
                    <a:lnTo>
                      <a:pt x="38" y="38"/>
                    </a:lnTo>
                    <a:lnTo>
                      <a:pt x="22" y="56"/>
                    </a:lnTo>
                    <a:lnTo>
                      <a:pt x="16" y="66"/>
                    </a:lnTo>
                    <a:lnTo>
                      <a:pt x="10" y="78"/>
                    </a:lnTo>
                    <a:lnTo>
                      <a:pt x="6" y="90"/>
                    </a:lnTo>
                    <a:lnTo>
                      <a:pt x="2" y="102"/>
                    </a:lnTo>
                    <a:lnTo>
                      <a:pt x="0" y="114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42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18" y="128"/>
                    </a:lnTo>
                    <a:lnTo>
                      <a:pt x="18" y="128"/>
                    </a:lnTo>
                    <a:lnTo>
                      <a:pt x="22" y="106"/>
                    </a:lnTo>
                    <a:lnTo>
                      <a:pt x="28" y="86"/>
                    </a:lnTo>
                    <a:lnTo>
                      <a:pt x="38" y="66"/>
                    </a:lnTo>
                    <a:lnTo>
                      <a:pt x="52" y="50"/>
                    </a:lnTo>
                    <a:lnTo>
                      <a:pt x="68" y="38"/>
                    </a:lnTo>
                    <a:lnTo>
                      <a:pt x="86" y="28"/>
                    </a:lnTo>
                    <a:lnTo>
                      <a:pt x="106" y="20"/>
                    </a:lnTo>
                    <a:lnTo>
                      <a:pt x="128" y="18"/>
                    </a:lnTo>
                    <a:lnTo>
                      <a:pt x="128" y="18"/>
                    </a:lnTo>
                    <a:lnTo>
                      <a:pt x="150" y="20"/>
                    </a:lnTo>
                    <a:lnTo>
                      <a:pt x="172" y="28"/>
                    </a:lnTo>
                    <a:lnTo>
                      <a:pt x="190" y="38"/>
                    </a:lnTo>
                    <a:lnTo>
                      <a:pt x="206" y="50"/>
                    </a:lnTo>
                    <a:lnTo>
                      <a:pt x="220" y="66"/>
                    </a:lnTo>
                    <a:lnTo>
                      <a:pt x="230" y="86"/>
                    </a:lnTo>
                    <a:lnTo>
                      <a:pt x="236" y="106"/>
                    </a:lnTo>
                    <a:lnTo>
                      <a:pt x="238" y="128"/>
                    </a:lnTo>
                    <a:lnTo>
                      <a:pt x="238" y="128"/>
                    </a:lnTo>
                    <a:lnTo>
                      <a:pt x="236" y="146"/>
                    </a:lnTo>
                    <a:lnTo>
                      <a:pt x="232" y="164"/>
                    </a:lnTo>
                    <a:lnTo>
                      <a:pt x="226" y="180"/>
                    </a:lnTo>
                    <a:lnTo>
                      <a:pt x="216" y="194"/>
                    </a:lnTo>
                    <a:lnTo>
                      <a:pt x="204" y="208"/>
                    </a:lnTo>
                    <a:lnTo>
                      <a:pt x="190" y="218"/>
                    </a:lnTo>
                    <a:lnTo>
                      <a:pt x="176" y="226"/>
                    </a:lnTo>
                    <a:lnTo>
                      <a:pt x="160" y="234"/>
                    </a:lnTo>
                    <a:lnTo>
                      <a:pt x="160" y="252"/>
                    </a:lnTo>
                    <a:lnTo>
                      <a:pt x="160" y="252"/>
                    </a:lnTo>
                    <a:lnTo>
                      <a:pt x="180" y="246"/>
                    </a:lnTo>
                    <a:lnTo>
                      <a:pt x="198" y="236"/>
                    </a:lnTo>
                    <a:lnTo>
                      <a:pt x="214" y="224"/>
                    </a:lnTo>
                    <a:lnTo>
                      <a:pt x="230" y="208"/>
                    </a:lnTo>
                    <a:lnTo>
                      <a:pt x="240" y="190"/>
                    </a:lnTo>
                    <a:lnTo>
                      <a:pt x="250" y="170"/>
                    </a:lnTo>
                    <a:lnTo>
                      <a:pt x="254" y="150"/>
                    </a:lnTo>
                    <a:lnTo>
                      <a:pt x="256" y="128"/>
                    </a:lnTo>
                    <a:lnTo>
                      <a:pt x="256" y="128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" name="Freeform 159">
                <a:extLst>
                  <a:ext uri="{FF2B5EF4-FFF2-40B4-BE49-F238E27FC236}">
                    <a16:creationId xmlns:a16="http://schemas.microsoft.com/office/drawing/2014/main" id="{7177E727-A220-4F29-81B9-4FA204DD4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2383" y="1953558"/>
                <a:ext cx="100667" cy="166487"/>
              </a:xfrm>
              <a:custGeom>
                <a:avLst/>
                <a:gdLst>
                  <a:gd name="T0" fmla="*/ 52 w 52"/>
                  <a:gd name="T1" fmla="*/ 60 h 86"/>
                  <a:gd name="T2" fmla="*/ 52 w 52"/>
                  <a:gd name="T3" fmla="*/ 60 h 86"/>
                  <a:gd name="T4" fmla="*/ 50 w 52"/>
                  <a:gd name="T5" fmla="*/ 70 h 86"/>
                  <a:gd name="T6" fmla="*/ 44 w 52"/>
                  <a:gd name="T7" fmla="*/ 78 h 86"/>
                  <a:gd name="T8" fmla="*/ 36 w 52"/>
                  <a:gd name="T9" fmla="*/ 84 h 86"/>
                  <a:gd name="T10" fmla="*/ 26 w 52"/>
                  <a:gd name="T11" fmla="*/ 86 h 86"/>
                  <a:gd name="T12" fmla="*/ 26 w 52"/>
                  <a:gd name="T13" fmla="*/ 86 h 86"/>
                  <a:gd name="T14" fmla="*/ 26 w 52"/>
                  <a:gd name="T15" fmla="*/ 86 h 86"/>
                  <a:gd name="T16" fmla="*/ 16 w 52"/>
                  <a:gd name="T17" fmla="*/ 84 h 86"/>
                  <a:gd name="T18" fmla="*/ 8 w 52"/>
                  <a:gd name="T19" fmla="*/ 78 h 86"/>
                  <a:gd name="T20" fmla="*/ 2 w 52"/>
                  <a:gd name="T21" fmla="*/ 70 h 86"/>
                  <a:gd name="T22" fmla="*/ 0 w 52"/>
                  <a:gd name="T23" fmla="*/ 60 h 86"/>
                  <a:gd name="T24" fmla="*/ 0 w 52"/>
                  <a:gd name="T25" fmla="*/ 26 h 86"/>
                  <a:gd name="T26" fmla="*/ 0 w 52"/>
                  <a:gd name="T27" fmla="*/ 26 h 86"/>
                  <a:gd name="T28" fmla="*/ 2 w 52"/>
                  <a:gd name="T29" fmla="*/ 16 h 86"/>
                  <a:gd name="T30" fmla="*/ 8 w 52"/>
                  <a:gd name="T31" fmla="*/ 8 h 86"/>
                  <a:gd name="T32" fmla="*/ 16 w 52"/>
                  <a:gd name="T33" fmla="*/ 2 h 86"/>
                  <a:gd name="T34" fmla="*/ 26 w 52"/>
                  <a:gd name="T35" fmla="*/ 0 h 86"/>
                  <a:gd name="T36" fmla="*/ 26 w 52"/>
                  <a:gd name="T37" fmla="*/ 0 h 86"/>
                  <a:gd name="T38" fmla="*/ 26 w 52"/>
                  <a:gd name="T39" fmla="*/ 0 h 86"/>
                  <a:gd name="T40" fmla="*/ 36 w 52"/>
                  <a:gd name="T41" fmla="*/ 2 h 86"/>
                  <a:gd name="T42" fmla="*/ 44 w 52"/>
                  <a:gd name="T43" fmla="*/ 8 h 86"/>
                  <a:gd name="T44" fmla="*/ 50 w 52"/>
                  <a:gd name="T45" fmla="*/ 16 h 86"/>
                  <a:gd name="T46" fmla="*/ 52 w 52"/>
                  <a:gd name="T47" fmla="*/ 26 h 86"/>
                  <a:gd name="T48" fmla="*/ 52 w 52"/>
                  <a:gd name="T4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86">
                    <a:moveTo>
                      <a:pt x="52" y="60"/>
                    </a:moveTo>
                    <a:lnTo>
                      <a:pt x="52" y="60"/>
                    </a:lnTo>
                    <a:lnTo>
                      <a:pt x="50" y="70"/>
                    </a:lnTo>
                    <a:lnTo>
                      <a:pt x="44" y="78"/>
                    </a:lnTo>
                    <a:lnTo>
                      <a:pt x="36" y="84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16" y="84"/>
                    </a:lnTo>
                    <a:lnTo>
                      <a:pt x="8" y="78"/>
                    </a:lnTo>
                    <a:lnTo>
                      <a:pt x="2" y="70"/>
                    </a:lnTo>
                    <a:lnTo>
                      <a:pt x="0" y="6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16"/>
                    </a:lnTo>
                    <a:lnTo>
                      <a:pt x="8" y="8"/>
                    </a:lnTo>
                    <a:lnTo>
                      <a:pt x="16" y="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4" y="8"/>
                    </a:lnTo>
                    <a:lnTo>
                      <a:pt x="50" y="16"/>
                    </a:lnTo>
                    <a:lnTo>
                      <a:pt x="52" y="26"/>
                    </a:lnTo>
                    <a:lnTo>
                      <a:pt x="52" y="6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" name="Freeform 160">
                <a:extLst>
                  <a:ext uri="{FF2B5EF4-FFF2-40B4-BE49-F238E27FC236}">
                    <a16:creationId xmlns:a16="http://schemas.microsoft.com/office/drawing/2014/main" id="{EBDFB6C7-C07C-4655-BB22-A1F879ED2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5665" y="2228455"/>
                <a:ext cx="104538" cy="61949"/>
              </a:xfrm>
              <a:custGeom>
                <a:avLst/>
                <a:gdLst>
                  <a:gd name="T0" fmla="*/ 38 w 54"/>
                  <a:gd name="T1" fmla="*/ 0 h 32"/>
                  <a:gd name="T2" fmla="*/ 38 w 54"/>
                  <a:gd name="T3" fmla="*/ 0 h 32"/>
                  <a:gd name="T4" fmla="*/ 44 w 54"/>
                  <a:gd name="T5" fmla="*/ 2 h 32"/>
                  <a:gd name="T6" fmla="*/ 48 w 54"/>
                  <a:gd name="T7" fmla="*/ 6 h 32"/>
                  <a:gd name="T8" fmla="*/ 52 w 54"/>
                  <a:gd name="T9" fmla="*/ 10 h 32"/>
                  <a:gd name="T10" fmla="*/ 54 w 54"/>
                  <a:gd name="T11" fmla="*/ 16 h 32"/>
                  <a:gd name="T12" fmla="*/ 54 w 54"/>
                  <a:gd name="T13" fmla="*/ 16 h 32"/>
                  <a:gd name="T14" fmla="*/ 54 w 54"/>
                  <a:gd name="T15" fmla="*/ 16 h 32"/>
                  <a:gd name="T16" fmla="*/ 52 w 54"/>
                  <a:gd name="T17" fmla="*/ 24 h 32"/>
                  <a:gd name="T18" fmla="*/ 48 w 54"/>
                  <a:gd name="T19" fmla="*/ 28 h 32"/>
                  <a:gd name="T20" fmla="*/ 44 w 54"/>
                  <a:gd name="T21" fmla="*/ 32 h 32"/>
                  <a:gd name="T22" fmla="*/ 38 w 54"/>
                  <a:gd name="T23" fmla="*/ 32 h 32"/>
                  <a:gd name="T24" fmla="*/ 16 w 54"/>
                  <a:gd name="T25" fmla="*/ 32 h 32"/>
                  <a:gd name="T26" fmla="*/ 16 w 54"/>
                  <a:gd name="T27" fmla="*/ 32 h 32"/>
                  <a:gd name="T28" fmla="*/ 10 w 54"/>
                  <a:gd name="T29" fmla="*/ 32 h 32"/>
                  <a:gd name="T30" fmla="*/ 6 w 54"/>
                  <a:gd name="T31" fmla="*/ 28 h 32"/>
                  <a:gd name="T32" fmla="*/ 2 w 54"/>
                  <a:gd name="T33" fmla="*/ 24 h 32"/>
                  <a:gd name="T34" fmla="*/ 0 w 54"/>
                  <a:gd name="T35" fmla="*/ 16 h 32"/>
                  <a:gd name="T36" fmla="*/ 0 w 54"/>
                  <a:gd name="T37" fmla="*/ 16 h 32"/>
                  <a:gd name="T38" fmla="*/ 0 w 54"/>
                  <a:gd name="T39" fmla="*/ 16 h 32"/>
                  <a:gd name="T40" fmla="*/ 2 w 54"/>
                  <a:gd name="T41" fmla="*/ 10 h 32"/>
                  <a:gd name="T42" fmla="*/ 6 w 54"/>
                  <a:gd name="T43" fmla="*/ 6 h 32"/>
                  <a:gd name="T44" fmla="*/ 10 w 54"/>
                  <a:gd name="T45" fmla="*/ 2 h 32"/>
                  <a:gd name="T46" fmla="*/ 16 w 54"/>
                  <a:gd name="T47" fmla="*/ 0 h 32"/>
                  <a:gd name="T48" fmla="*/ 38 w 54"/>
                  <a:gd name="T4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4" h="32">
                    <a:moveTo>
                      <a:pt x="38" y="0"/>
                    </a:moveTo>
                    <a:lnTo>
                      <a:pt x="38" y="0"/>
                    </a:lnTo>
                    <a:lnTo>
                      <a:pt x="44" y="2"/>
                    </a:lnTo>
                    <a:lnTo>
                      <a:pt x="48" y="6"/>
                    </a:lnTo>
                    <a:lnTo>
                      <a:pt x="52" y="10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2" y="24"/>
                    </a:lnTo>
                    <a:lnTo>
                      <a:pt x="48" y="28"/>
                    </a:lnTo>
                    <a:lnTo>
                      <a:pt x="44" y="32"/>
                    </a:lnTo>
                    <a:lnTo>
                      <a:pt x="38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0" y="32"/>
                    </a:lnTo>
                    <a:lnTo>
                      <a:pt x="6" y="28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6" y="6"/>
                    </a:lnTo>
                    <a:lnTo>
                      <a:pt x="10" y="2"/>
                    </a:lnTo>
                    <a:lnTo>
                      <a:pt x="16" y="0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" name="Freeform 161">
                <a:extLst>
                  <a:ext uri="{FF2B5EF4-FFF2-40B4-BE49-F238E27FC236}">
                    <a16:creationId xmlns:a16="http://schemas.microsoft.com/office/drawing/2014/main" id="{EC90CE69-99B8-409D-8525-E512F6FD27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3126" y="1953558"/>
                <a:ext cx="100667" cy="166487"/>
              </a:xfrm>
              <a:custGeom>
                <a:avLst/>
                <a:gdLst>
                  <a:gd name="T0" fmla="*/ 52 w 52"/>
                  <a:gd name="T1" fmla="*/ 60 h 86"/>
                  <a:gd name="T2" fmla="*/ 52 w 52"/>
                  <a:gd name="T3" fmla="*/ 60 h 86"/>
                  <a:gd name="T4" fmla="*/ 50 w 52"/>
                  <a:gd name="T5" fmla="*/ 70 h 86"/>
                  <a:gd name="T6" fmla="*/ 44 w 52"/>
                  <a:gd name="T7" fmla="*/ 78 h 86"/>
                  <a:gd name="T8" fmla="*/ 36 w 52"/>
                  <a:gd name="T9" fmla="*/ 84 h 86"/>
                  <a:gd name="T10" fmla="*/ 26 w 52"/>
                  <a:gd name="T11" fmla="*/ 86 h 86"/>
                  <a:gd name="T12" fmla="*/ 26 w 52"/>
                  <a:gd name="T13" fmla="*/ 86 h 86"/>
                  <a:gd name="T14" fmla="*/ 26 w 52"/>
                  <a:gd name="T15" fmla="*/ 86 h 86"/>
                  <a:gd name="T16" fmla="*/ 16 w 52"/>
                  <a:gd name="T17" fmla="*/ 84 h 86"/>
                  <a:gd name="T18" fmla="*/ 8 w 52"/>
                  <a:gd name="T19" fmla="*/ 78 h 86"/>
                  <a:gd name="T20" fmla="*/ 2 w 52"/>
                  <a:gd name="T21" fmla="*/ 70 h 86"/>
                  <a:gd name="T22" fmla="*/ 0 w 52"/>
                  <a:gd name="T23" fmla="*/ 60 h 86"/>
                  <a:gd name="T24" fmla="*/ 0 w 52"/>
                  <a:gd name="T25" fmla="*/ 26 h 86"/>
                  <a:gd name="T26" fmla="*/ 0 w 52"/>
                  <a:gd name="T27" fmla="*/ 26 h 86"/>
                  <a:gd name="T28" fmla="*/ 2 w 52"/>
                  <a:gd name="T29" fmla="*/ 16 h 86"/>
                  <a:gd name="T30" fmla="*/ 8 w 52"/>
                  <a:gd name="T31" fmla="*/ 8 h 86"/>
                  <a:gd name="T32" fmla="*/ 16 w 52"/>
                  <a:gd name="T33" fmla="*/ 2 h 86"/>
                  <a:gd name="T34" fmla="*/ 26 w 52"/>
                  <a:gd name="T35" fmla="*/ 0 h 86"/>
                  <a:gd name="T36" fmla="*/ 26 w 52"/>
                  <a:gd name="T37" fmla="*/ 0 h 86"/>
                  <a:gd name="T38" fmla="*/ 26 w 52"/>
                  <a:gd name="T39" fmla="*/ 0 h 86"/>
                  <a:gd name="T40" fmla="*/ 36 w 52"/>
                  <a:gd name="T41" fmla="*/ 2 h 86"/>
                  <a:gd name="T42" fmla="*/ 44 w 52"/>
                  <a:gd name="T43" fmla="*/ 8 h 86"/>
                  <a:gd name="T44" fmla="*/ 50 w 52"/>
                  <a:gd name="T45" fmla="*/ 16 h 86"/>
                  <a:gd name="T46" fmla="*/ 52 w 52"/>
                  <a:gd name="T47" fmla="*/ 26 h 86"/>
                  <a:gd name="T48" fmla="*/ 52 w 52"/>
                  <a:gd name="T4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86">
                    <a:moveTo>
                      <a:pt x="52" y="60"/>
                    </a:moveTo>
                    <a:lnTo>
                      <a:pt x="52" y="60"/>
                    </a:lnTo>
                    <a:lnTo>
                      <a:pt x="50" y="70"/>
                    </a:lnTo>
                    <a:lnTo>
                      <a:pt x="44" y="78"/>
                    </a:lnTo>
                    <a:lnTo>
                      <a:pt x="36" y="84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16" y="84"/>
                    </a:lnTo>
                    <a:lnTo>
                      <a:pt x="8" y="78"/>
                    </a:lnTo>
                    <a:lnTo>
                      <a:pt x="2" y="70"/>
                    </a:lnTo>
                    <a:lnTo>
                      <a:pt x="0" y="6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16"/>
                    </a:lnTo>
                    <a:lnTo>
                      <a:pt x="8" y="8"/>
                    </a:lnTo>
                    <a:lnTo>
                      <a:pt x="16" y="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4" y="8"/>
                    </a:lnTo>
                    <a:lnTo>
                      <a:pt x="50" y="16"/>
                    </a:lnTo>
                    <a:lnTo>
                      <a:pt x="52" y="26"/>
                    </a:lnTo>
                    <a:lnTo>
                      <a:pt x="52" y="6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41AA577D-0226-401F-B126-AEA11464E7A2}"/>
                </a:ext>
              </a:extLst>
            </p:cNvPr>
            <p:cNvSpPr/>
            <p:nvPr/>
          </p:nvSpPr>
          <p:spPr>
            <a:xfrm>
              <a:off x="3317006" y="3626360"/>
              <a:ext cx="80817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duct </a:t>
              </a:r>
            </a:p>
            <a:p>
              <a:pPr algn="ctr"/>
              <a:r>
                <a:rPr lang="en-GB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talogue</a:t>
              </a:r>
              <a:endParaRPr lang="en-US"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9C7A4936-28B0-428D-90CD-A5D5734CB291}"/>
                </a:ext>
              </a:extLst>
            </p:cNvPr>
            <p:cNvSpPr/>
            <p:nvPr/>
          </p:nvSpPr>
          <p:spPr>
            <a:xfrm>
              <a:off x="5382448" y="3649081"/>
              <a:ext cx="859589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ext Best Actions </a:t>
              </a:r>
            </a:p>
          </p:txBody>
        </p:sp>
        <p:pic>
          <p:nvPicPr>
            <p:cNvPr id="119" name="Picture 6" descr="http://www.pega.com/sites/default/files/images/icon/nba-offers_icon.png">
              <a:extLst>
                <a:ext uri="{FF2B5EF4-FFF2-40B4-BE49-F238E27FC236}">
                  <a16:creationId xmlns:a16="http://schemas.microsoft.com/office/drawing/2014/main" id="{062698BD-F281-4D29-A67D-2C5C95DF11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0525" y="3001331"/>
              <a:ext cx="423522" cy="450143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EA108BAC-80F7-4EC2-90AA-46C29CCC9C45}"/>
                </a:ext>
              </a:extLst>
            </p:cNvPr>
            <p:cNvSpPr/>
            <p:nvPr/>
          </p:nvSpPr>
          <p:spPr>
            <a:xfrm>
              <a:off x="6173063" y="3648069"/>
              <a:ext cx="104064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mpaigns</a:t>
              </a:r>
              <a:endParaRPr lang="en-US"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21" name="Picture 8" descr="http://1.bp.blogspot.com/-KfP3TFVuJZA/UwD-EDLm_gI/AAAAAAAAI-M/LIVtkMeXNG8/s1600/campaign-icon-large.png">
              <a:extLst>
                <a:ext uri="{FF2B5EF4-FFF2-40B4-BE49-F238E27FC236}">
                  <a16:creationId xmlns:a16="http://schemas.microsoft.com/office/drawing/2014/main" id="{43E9514B-1214-46ED-B2FA-C5BCDB8A47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5273" y="3033647"/>
              <a:ext cx="627986" cy="39885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D13274F7-03EF-49A0-AB9A-4355344D6702}"/>
                </a:ext>
              </a:extLst>
            </p:cNvPr>
            <p:cNvSpPr/>
            <p:nvPr/>
          </p:nvSpPr>
          <p:spPr>
            <a:xfrm>
              <a:off x="7063461" y="3650412"/>
              <a:ext cx="98331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orkflows</a:t>
              </a:r>
              <a:endParaRPr lang="en-US"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25" name="Picture 20" descr="http://osx.wdfiles.com/local--files/icon:icon-1-verschoben/icon-1-verschoben.png">
              <a:extLst>
                <a:ext uri="{FF2B5EF4-FFF2-40B4-BE49-F238E27FC236}">
                  <a16:creationId xmlns:a16="http://schemas.microsoft.com/office/drawing/2014/main" id="{D992927D-1FF3-4F6E-BCE4-BA9D4B46CA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1725" y="3001331"/>
              <a:ext cx="444333" cy="444333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72FFB552-1D14-48D0-B30C-AE35C504C04F}"/>
                </a:ext>
              </a:extLst>
            </p:cNvPr>
            <p:cNvSpPr/>
            <p:nvPr/>
          </p:nvSpPr>
          <p:spPr>
            <a:xfrm>
              <a:off x="4268691" y="3635406"/>
              <a:ext cx="108338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 Management</a:t>
              </a:r>
              <a:endParaRPr lang="en-US"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9F6B6D73-9411-4801-BBAA-AD4694376A48}"/>
                </a:ext>
              </a:extLst>
            </p:cNvPr>
            <p:cNvGrpSpPr/>
            <p:nvPr/>
          </p:nvGrpSpPr>
          <p:grpSpPr>
            <a:xfrm>
              <a:off x="8218472" y="3028693"/>
              <a:ext cx="353668" cy="440818"/>
              <a:chOff x="7220346" y="307887"/>
              <a:chExt cx="1155654" cy="1440428"/>
            </a:xfrm>
          </p:grpSpPr>
          <p:sp>
            <p:nvSpPr>
              <p:cNvPr id="128" name="Rectangle 17">
                <a:extLst>
                  <a:ext uri="{FF2B5EF4-FFF2-40B4-BE49-F238E27FC236}">
                    <a16:creationId xmlns:a16="http://schemas.microsoft.com/office/drawing/2014/main" id="{646AABA3-FBD9-4EE4-A9E7-E3DB072978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1912" y="307887"/>
                <a:ext cx="954088" cy="121602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2D2D2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9" name="Rectangle 17">
                <a:extLst>
                  <a:ext uri="{FF2B5EF4-FFF2-40B4-BE49-F238E27FC236}">
                    <a16:creationId xmlns:a16="http://schemas.microsoft.com/office/drawing/2014/main" id="{25F8E1A9-2E91-4098-8E02-6E37DD26B7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20346" y="532290"/>
                <a:ext cx="954088" cy="1216025"/>
              </a:xfrm>
              <a:prstGeom prst="rect">
                <a:avLst/>
              </a:prstGeom>
              <a:solidFill>
                <a:sysClr val="window" lastClr="FFFFFF"/>
              </a:solidFill>
              <a:ln w="12700">
                <a:solidFill>
                  <a:srgbClr val="2D2D2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FDF8E551-E7AD-4BEF-8B90-ACE7EE8A2F5F}"/>
                  </a:ext>
                </a:extLst>
              </p:cNvPr>
              <p:cNvCxnSpPr/>
              <p:nvPr/>
            </p:nvCxnSpPr>
            <p:spPr>
              <a:xfrm>
                <a:off x="7330855" y="984740"/>
                <a:ext cx="680142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2D2D2A"/>
                </a:solidFill>
                <a:prstDash val="solid"/>
              </a:ln>
              <a:effectLst/>
            </p:spPr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ED4B9A61-9BD0-4278-B9BF-23CD9FF978AF}"/>
                  </a:ext>
                </a:extLst>
              </p:cNvPr>
              <p:cNvCxnSpPr/>
              <p:nvPr/>
            </p:nvCxnSpPr>
            <p:spPr>
              <a:xfrm>
                <a:off x="7330855" y="1143000"/>
                <a:ext cx="680142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2D2D2A"/>
                </a:solidFill>
                <a:prstDash val="solid"/>
              </a:ln>
              <a:effectLst/>
            </p:spPr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89080EDA-8A8C-4387-A0E5-B7C327EADE51}"/>
                  </a:ext>
                </a:extLst>
              </p:cNvPr>
              <p:cNvCxnSpPr/>
              <p:nvPr/>
            </p:nvCxnSpPr>
            <p:spPr>
              <a:xfrm>
                <a:off x="7330855" y="1295400"/>
                <a:ext cx="680142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2D2D2A"/>
                </a:solidFill>
                <a:prstDash val="solid"/>
              </a:ln>
              <a:effectLst/>
            </p:spPr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D07AC199-5759-4895-B1EE-78B64A7CCC1B}"/>
                  </a:ext>
                </a:extLst>
              </p:cNvPr>
              <p:cNvCxnSpPr/>
              <p:nvPr/>
            </p:nvCxnSpPr>
            <p:spPr>
              <a:xfrm>
                <a:off x="7330855" y="1453660"/>
                <a:ext cx="680142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2D2D2A"/>
                </a:solidFill>
                <a:prstDash val="solid"/>
              </a:ln>
              <a:effectLst/>
            </p:spPr>
          </p:cxnSp>
        </p:grp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E7DF0908-2E12-4F42-AA06-E7A35EEC6E01}"/>
                </a:ext>
              </a:extLst>
            </p:cNvPr>
            <p:cNvSpPr/>
            <p:nvPr/>
          </p:nvSpPr>
          <p:spPr>
            <a:xfrm>
              <a:off x="8066353" y="3661579"/>
              <a:ext cx="711769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ms</a:t>
              </a:r>
              <a:endParaRPr lang="en-US"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519DFA64-248B-4EFA-9CFC-3FE5D4F07DE2}"/>
                </a:ext>
              </a:extLst>
            </p:cNvPr>
            <p:cNvSpPr txBox="1"/>
            <p:nvPr/>
          </p:nvSpPr>
          <p:spPr>
            <a:xfrm>
              <a:off x="1330559" y="3632168"/>
              <a:ext cx="1479906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obe </a:t>
              </a:r>
            </a:p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xperience Cloud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93E5B11C-1A7B-4DC0-AE83-4E8C9EDCE612}"/>
                </a:ext>
              </a:extLst>
            </p:cNvPr>
            <p:cNvSpPr/>
            <p:nvPr/>
          </p:nvSpPr>
          <p:spPr>
            <a:xfrm>
              <a:off x="1472437" y="4802847"/>
              <a:ext cx="616504" cy="27758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GB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SO</a:t>
              </a:r>
              <a:endParaRPr lang="en-US"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D35D9825-45FF-4F81-B190-5ACB80BD55FD}"/>
                </a:ext>
              </a:extLst>
            </p:cNvPr>
            <p:cNvSpPr/>
            <p:nvPr/>
          </p:nvSpPr>
          <p:spPr>
            <a:xfrm>
              <a:off x="2860724" y="4793341"/>
              <a:ext cx="1224419" cy="32552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GB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nderwriting</a:t>
              </a:r>
              <a:endParaRPr lang="en-US"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FEC66E64-258D-4726-AB0B-9A971FB49C51}"/>
                </a:ext>
              </a:extLst>
            </p:cNvPr>
            <p:cNvSpPr/>
            <p:nvPr/>
          </p:nvSpPr>
          <p:spPr>
            <a:xfrm>
              <a:off x="4136881" y="4779859"/>
              <a:ext cx="751489" cy="30937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GB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licies</a:t>
              </a:r>
              <a:endParaRPr lang="en-US"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2D86824C-2E94-4F1A-87BE-FBA6D0C7E7E2}"/>
                </a:ext>
              </a:extLst>
            </p:cNvPr>
            <p:cNvSpPr/>
            <p:nvPr/>
          </p:nvSpPr>
          <p:spPr>
            <a:xfrm>
              <a:off x="7331330" y="4793341"/>
              <a:ext cx="865019" cy="31815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GB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porting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F168A6A0-1929-44E8-9CFA-FEF03DFC1712}"/>
                </a:ext>
              </a:extLst>
            </p:cNvPr>
            <p:cNvSpPr/>
            <p:nvPr/>
          </p:nvSpPr>
          <p:spPr>
            <a:xfrm>
              <a:off x="2313770" y="4784908"/>
              <a:ext cx="590172" cy="32866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GB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laims</a:t>
              </a:r>
              <a:endParaRPr lang="en-US"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69222A20-7C7F-4A80-A689-C312481FDB0F}"/>
                </a:ext>
              </a:extLst>
            </p:cNvPr>
            <p:cNvSpPr/>
            <p:nvPr/>
          </p:nvSpPr>
          <p:spPr>
            <a:xfrm>
              <a:off x="6415551" y="4802782"/>
              <a:ext cx="962973" cy="26607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GB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pliance</a:t>
              </a:r>
              <a:endParaRPr lang="en-US"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75552B66-09CE-453C-A9E6-789ABF017C71}"/>
                </a:ext>
              </a:extLst>
            </p:cNvPr>
            <p:cNvSpPr/>
            <p:nvPr/>
          </p:nvSpPr>
          <p:spPr>
            <a:xfrm>
              <a:off x="8293024" y="4815486"/>
              <a:ext cx="990089" cy="2675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GB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otifications</a:t>
              </a: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C2F38629-8B8A-4C94-B438-9A5C2BE9BE0B}"/>
                </a:ext>
              </a:extLst>
            </p:cNvPr>
            <p:cNvSpPr/>
            <p:nvPr/>
          </p:nvSpPr>
          <p:spPr>
            <a:xfrm>
              <a:off x="9422052" y="4794096"/>
              <a:ext cx="1080441" cy="30597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GB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icroservices</a:t>
              </a:r>
            </a:p>
          </p:txBody>
        </p:sp>
        <p:sp>
          <p:nvSpPr>
            <p:cNvPr id="153" name="object 103">
              <a:extLst>
                <a:ext uri="{FF2B5EF4-FFF2-40B4-BE49-F238E27FC236}">
                  <a16:creationId xmlns:a16="http://schemas.microsoft.com/office/drawing/2014/main" id="{B334800B-4CBE-4F87-82EF-7F5BB883D119}"/>
                </a:ext>
              </a:extLst>
            </p:cNvPr>
            <p:cNvSpPr/>
            <p:nvPr/>
          </p:nvSpPr>
          <p:spPr>
            <a:xfrm>
              <a:off x="1206718" y="5212101"/>
              <a:ext cx="9334997" cy="711713"/>
            </a:xfrm>
            <a:custGeom>
              <a:avLst/>
              <a:gdLst/>
              <a:ahLst/>
              <a:cxnLst/>
              <a:rect l="l" t="t" r="r" b="b"/>
              <a:pathLst>
                <a:path w="1769110" h="1626870">
                  <a:moveTo>
                    <a:pt x="0" y="1626488"/>
                  </a:moveTo>
                  <a:lnTo>
                    <a:pt x="1768983" y="1626488"/>
                  </a:lnTo>
                  <a:lnTo>
                    <a:pt x="1768983" y="0"/>
                  </a:lnTo>
                  <a:lnTo>
                    <a:pt x="0" y="0"/>
                  </a:lnTo>
                  <a:lnTo>
                    <a:pt x="0" y="1626488"/>
                  </a:lnTo>
                  <a:close/>
                </a:path>
              </a:pathLst>
            </a:custGeom>
            <a:solidFill>
              <a:srgbClr val="F5F9F9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57" name="Picture 156">
              <a:extLst>
                <a:ext uri="{FF2B5EF4-FFF2-40B4-BE49-F238E27FC236}">
                  <a16:creationId xmlns:a16="http://schemas.microsoft.com/office/drawing/2014/main" id="{B6511B88-D171-4086-9FB0-9A17E722C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651089" y="4308276"/>
              <a:ext cx="474171" cy="392038"/>
            </a:xfrm>
            <a:prstGeom prst="rect">
              <a:avLst/>
            </a:prstGeom>
          </p:spPr>
        </p:pic>
        <p:pic>
          <p:nvPicPr>
            <p:cNvPr id="160" name="Picture 159">
              <a:extLst>
                <a:ext uri="{FF2B5EF4-FFF2-40B4-BE49-F238E27FC236}">
                  <a16:creationId xmlns:a16="http://schemas.microsoft.com/office/drawing/2014/main" id="{9A6B4EA0-6C6C-4C3A-909F-CD3E61EC47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545718" y="4271234"/>
              <a:ext cx="438815" cy="438815"/>
            </a:xfrm>
            <a:prstGeom prst="rect">
              <a:avLst/>
            </a:prstGeom>
          </p:spPr>
        </p:pic>
        <p:pic>
          <p:nvPicPr>
            <p:cNvPr id="161" name="Picture 160">
              <a:extLst>
                <a:ext uri="{FF2B5EF4-FFF2-40B4-BE49-F238E27FC236}">
                  <a16:creationId xmlns:a16="http://schemas.microsoft.com/office/drawing/2014/main" id="{9D3C7C5A-D5EA-42AA-9C90-CCB2FA9573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278095" y="2972079"/>
              <a:ext cx="554047" cy="554047"/>
            </a:xfrm>
            <a:prstGeom prst="rect">
              <a:avLst/>
            </a:prstGeom>
          </p:spPr>
        </p:pic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E1128C4C-ECD7-46DB-855D-93F9E4277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581245" y="4342969"/>
              <a:ext cx="392037" cy="392037"/>
            </a:xfrm>
            <a:prstGeom prst="rect">
              <a:avLst/>
            </a:prstGeom>
          </p:spPr>
        </p:pic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0799B988-EC91-4A9B-BE12-3646B7AC3AB0}"/>
                </a:ext>
              </a:extLst>
            </p:cNvPr>
            <p:cNvGrpSpPr/>
            <p:nvPr/>
          </p:nvGrpSpPr>
          <p:grpSpPr>
            <a:xfrm>
              <a:off x="2245999" y="5296129"/>
              <a:ext cx="291503" cy="287301"/>
              <a:chOff x="533400" y="4724400"/>
              <a:chExt cx="291503" cy="287301"/>
            </a:xfrm>
          </p:grpSpPr>
          <p:sp>
            <p:nvSpPr>
              <p:cNvPr id="165" name="object 22">
                <a:extLst>
                  <a:ext uri="{FF2B5EF4-FFF2-40B4-BE49-F238E27FC236}">
                    <a16:creationId xmlns:a16="http://schemas.microsoft.com/office/drawing/2014/main" id="{80C7241C-47BA-447E-B866-69EAE2BDDF45}"/>
                  </a:ext>
                </a:extLst>
              </p:cNvPr>
              <p:cNvSpPr/>
              <p:nvPr/>
            </p:nvSpPr>
            <p:spPr>
              <a:xfrm>
                <a:off x="533687" y="4724400"/>
                <a:ext cx="290695" cy="84105"/>
              </a:xfrm>
              <a:custGeom>
                <a:avLst/>
                <a:gdLst/>
                <a:ahLst/>
                <a:cxnLst/>
                <a:rect l="l" t="t" r="r" b="b"/>
                <a:pathLst>
                  <a:path w="323215" h="85725">
                    <a:moveTo>
                      <a:pt x="161480" y="0"/>
                    </a:moveTo>
                    <a:lnTo>
                      <a:pt x="102290" y="3103"/>
                    </a:lnTo>
                    <a:lnTo>
                      <a:pt x="60396" y="9469"/>
                    </a:lnTo>
                    <a:lnTo>
                      <a:pt x="22542" y="20907"/>
                    </a:lnTo>
                    <a:lnTo>
                      <a:pt x="0" y="43275"/>
                    </a:lnTo>
                    <a:lnTo>
                      <a:pt x="2159" y="49903"/>
                    </a:lnTo>
                    <a:lnTo>
                      <a:pt x="42687" y="71620"/>
                    </a:lnTo>
                    <a:lnTo>
                      <a:pt x="94551" y="81407"/>
                    </a:lnTo>
                    <a:lnTo>
                      <a:pt x="146224" y="85137"/>
                    </a:lnTo>
                    <a:lnTo>
                      <a:pt x="172186" y="85211"/>
                    </a:lnTo>
                    <a:lnTo>
                      <a:pt x="198183" y="84201"/>
                    </a:lnTo>
                    <a:lnTo>
                      <a:pt x="239950" y="80089"/>
                    </a:lnTo>
                    <a:lnTo>
                      <a:pt x="280479" y="71501"/>
                    </a:lnTo>
                    <a:lnTo>
                      <a:pt x="321057" y="49746"/>
                    </a:lnTo>
                    <a:lnTo>
                      <a:pt x="323135" y="43164"/>
                    </a:lnTo>
                    <a:lnTo>
                      <a:pt x="321474" y="36558"/>
                    </a:lnTo>
                    <a:lnTo>
                      <a:pt x="279800" y="13626"/>
                    </a:lnTo>
                    <a:lnTo>
                      <a:pt x="216360" y="2587"/>
                    </a:lnTo>
                    <a:lnTo>
                      <a:pt x="161480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6" name="object 23">
                <a:extLst>
                  <a:ext uri="{FF2B5EF4-FFF2-40B4-BE49-F238E27FC236}">
                    <a16:creationId xmlns:a16="http://schemas.microsoft.com/office/drawing/2014/main" id="{67E5A830-8615-486E-9ABE-14E1D4179D11}"/>
                  </a:ext>
                </a:extLst>
              </p:cNvPr>
              <p:cNvSpPr/>
              <p:nvPr/>
            </p:nvSpPr>
            <p:spPr>
              <a:xfrm>
                <a:off x="533400" y="4937564"/>
                <a:ext cx="291267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850" h="75564">
                    <a:moveTo>
                      <a:pt x="380" y="977"/>
                    </a:moveTo>
                    <a:lnTo>
                      <a:pt x="376" y="25311"/>
                    </a:lnTo>
                    <a:lnTo>
                      <a:pt x="253" y="30352"/>
                    </a:lnTo>
                    <a:lnTo>
                      <a:pt x="0" y="37769"/>
                    </a:lnTo>
                    <a:lnTo>
                      <a:pt x="4063" y="43357"/>
                    </a:lnTo>
                    <a:lnTo>
                      <a:pt x="42290" y="61544"/>
                    </a:lnTo>
                    <a:lnTo>
                      <a:pt x="98190" y="72150"/>
                    </a:lnTo>
                    <a:lnTo>
                      <a:pt x="150711" y="75432"/>
                    </a:lnTo>
                    <a:lnTo>
                      <a:pt x="183943" y="75206"/>
                    </a:lnTo>
                    <a:lnTo>
                      <a:pt x="250062" y="68681"/>
                    </a:lnTo>
                    <a:lnTo>
                      <a:pt x="293496" y="57762"/>
                    </a:lnTo>
                    <a:lnTo>
                      <a:pt x="323722" y="27978"/>
                    </a:lnTo>
                    <a:lnTo>
                      <a:pt x="323611" y="27363"/>
                    </a:lnTo>
                    <a:lnTo>
                      <a:pt x="166862" y="27363"/>
                    </a:lnTo>
                    <a:lnTo>
                      <a:pt x="144587" y="27145"/>
                    </a:lnTo>
                    <a:lnTo>
                      <a:pt x="100724" y="24396"/>
                    </a:lnTo>
                    <a:lnTo>
                      <a:pt x="58239" y="18266"/>
                    </a:lnTo>
                    <a:lnTo>
                      <a:pt x="18891" y="7392"/>
                    </a:lnTo>
                    <a:lnTo>
                      <a:pt x="380" y="977"/>
                    </a:lnTo>
                    <a:close/>
                  </a:path>
                  <a:path w="323850" h="75564">
                    <a:moveTo>
                      <a:pt x="323468" y="0"/>
                    </a:moveTo>
                    <a:lnTo>
                      <a:pt x="319277" y="1816"/>
                    </a:lnTo>
                    <a:lnTo>
                      <a:pt x="315848" y="3492"/>
                    </a:lnTo>
                    <a:lnTo>
                      <a:pt x="312165" y="4889"/>
                    </a:lnTo>
                    <a:lnTo>
                      <a:pt x="263175" y="18772"/>
                    </a:lnTo>
                    <a:lnTo>
                      <a:pt x="211327" y="25311"/>
                    </a:lnTo>
                    <a:lnTo>
                      <a:pt x="166862" y="27363"/>
                    </a:lnTo>
                    <a:lnTo>
                      <a:pt x="323611" y="27363"/>
                    </a:lnTo>
                    <a:lnTo>
                      <a:pt x="323392" y="26149"/>
                    </a:lnTo>
                    <a:lnTo>
                      <a:pt x="323468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7" name="object 24">
                <a:extLst>
                  <a:ext uri="{FF2B5EF4-FFF2-40B4-BE49-F238E27FC236}">
                    <a16:creationId xmlns:a16="http://schemas.microsoft.com/office/drawing/2014/main" id="{98FC7BC1-914A-45F6-9BD6-649B472C8ABA}"/>
                  </a:ext>
                </a:extLst>
              </p:cNvPr>
              <p:cNvSpPr/>
              <p:nvPr/>
            </p:nvSpPr>
            <p:spPr>
              <a:xfrm>
                <a:off x="533636" y="4802149"/>
                <a:ext cx="291267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850" h="75564">
                    <a:moveTo>
                      <a:pt x="245" y="253"/>
                    </a:moveTo>
                    <a:lnTo>
                      <a:pt x="118" y="888"/>
                    </a:lnTo>
                    <a:lnTo>
                      <a:pt x="0" y="27289"/>
                    </a:lnTo>
                    <a:lnTo>
                      <a:pt x="245" y="32892"/>
                    </a:lnTo>
                    <a:lnTo>
                      <a:pt x="39631" y="60669"/>
                    </a:lnTo>
                    <a:lnTo>
                      <a:pt x="90786" y="70915"/>
                    </a:lnTo>
                    <a:lnTo>
                      <a:pt x="148837" y="75085"/>
                    </a:lnTo>
                    <a:lnTo>
                      <a:pt x="178172" y="74968"/>
                    </a:lnTo>
                    <a:lnTo>
                      <a:pt x="221749" y="72259"/>
                    </a:lnTo>
                    <a:lnTo>
                      <a:pt x="264659" y="65455"/>
                    </a:lnTo>
                    <a:lnTo>
                      <a:pt x="311776" y="48513"/>
                    </a:lnTo>
                    <a:lnTo>
                      <a:pt x="323841" y="37591"/>
                    </a:lnTo>
                    <a:lnTo>
                      <a:pt x="323460" y="29971"/>
                    </a:lnTo>
                    <a:lnTo>
                      <a:pt x="323380" y="27289"/>
                    </a:lnTo>
                    <a:lnTo>
                      <a:pt x="154725" y="27289"/>
                    </a:lnTo>
                    <a:lnTo>
                      <a:pt x="124219" y="26160"/>
                    </a:lnTo>
                    <a:lnTo>
                      <a:pt x="69670" y="20242"/>
                    </a:lnTo>
                    <a:lnTo>
                      <a:pt x="23371" y="9261"/>
                    </a:lnTo>
                    <a:lnTo>
                      <a:pt x="1642" y="380"/>
                    </a:lnTo>
                    <a:lnTo>
                      <a:pt x="1007" y="380"/>
                    </a:lnTo>
                    <a:lnTo>
                      <a:pt x="245" y="253"/>
                    </a:lnTo>
                    <a:close/>
                  </a:path>
                  <a:path w="323850" h="75564">
                    <a:moveTo>
                      <a:pt x="322825" y="0"/>
                    </a:moveTo>
                    <a:lnTo>
                      <a:pt x="318507" y="1904"/>
                    </a:lnTo>
                    <a:lnTo>
                      <a:pt x="314443" y="3809"/>
                    </a:lnTo>
                    <a:lnTo>
                      <a:pt x="310379" y="5460"/>
                    </a:lnTo>
                    <a:lnTo>
                      <a:pt x="264326" y="18367"/>
                    </a:lnTo>
                    <a:lnTo>
                      <a:pt x="215891" y="24891"/>
                    </a:lnTo>
                    <a:lnTo>
                      <a:pt x="154725" y="27289"/>
                    </a:lnTo>
                    <a:lnTo>
                      <a:pt x="323380" y="27289"/>
                    </a:lnTo>
                    <a:lnTo>
                      <a:pt x="323260" y="23250"/>
                    </a:lnTo>
                    <a:lnTo>
                      <a:pt x="323079" y="1269"/>
                    </a:lnTo>
                    <a:lnTo>
                      <a:pt x="322825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8" name="object 25">
                <a:extLst>
                  <a:ext uri="{FF2B5EF4-FFF2-40B4-BE49-F238E27FC236}">
                    <a16:creationId xmlns:a16="http://schemas.microsoft.com/office/drawing/2014/main" id="{71641866-B7A1-4A90-BDE7-40CC51087094}"/>
                  </a:ext>
                </a:extLst>
              </p:cNvPr>
              <p:cNvSpPr/>
              <p:nvPr/>
            </p:nvSpPr>
            <p:spPr>
              <a:xfrm>
                <a:off x="533515" y="4869770"/>
                <a:ext cx="290695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215" h="75564">
                    <a:moveTo>
                      <a:pt x="253" y="0"/>
                    </a:moveTo>
                    <a:lnTo>
                      <a:pt x="221" y="23735"/>
                    </a:lnTo>
                    <a:lnTo>
                      <a:pt x="0" y="28803"/>
                    </a:lnTo>
                    <a:lnTo>
                      <a:pt x="690" y="35276"/>
                    </a:lnTo>
                    <a:lnTo>
                      <a:pt x="33639" y="58778"/>
                    </a:lnTo>
                    <a:lnTo>
                      <a:pt x="86512" y="70442"/>
                    </a:lnTo>
                    <a:lnTo>
                      <a:pt x="151318" y="75218"/>
                    </a:lnTo>
                    <a:lnTo>
                      <a:pt x="184149" y="74828"/>
                    </a:lnTo>
                    <a:lnTo>
                      <a:pt x="228361" y="71596"/>
                    </a:lnTo>
                    <a:lnTo>
                      <a:pt x="271525" y="64058"/>
                    </a:lnTo>
                    <a:lnTo>
                      <a:pt x="311911" y="48526"/>
                    </a:lnTo>
                    <a:lnTo>
                      <a:pt x="322960" y="34823"/>
                    </a:lnTo>
                    <a:lnTo>
                      <a:pt x="323224" y="27458"/>
                    </a:lnTo>
                    <a:lnTo>
                      <a:pt x="158529" y="27458"/>
                    </a:lnTo>
                    <a:lnTo>
                      <a:pt x="127126" y="26428"/>
                    </a:lnTo>
                    <a:lnTo>
                      <a:pt x="94122" y="23735"/>
                    </a:lnTo>
                    <a:lnTo>
                      <a:pt x="61785" y="19034"/>
                    </a:lnTo>
                    <a:lnTo>
                      <a:pt x="30400" y="11423"/>
                    </a:lnTo>
                    <a:lnTo>
                      <a:pt x="253" y="0"/>
                    </a:lnTo>
                    <a:close/>
                  </a:path>
                  <a:path w="323215" h="75564">
                    <a:moveTo>
                      <a:pt x="323214" y="139"/>
                    </a:moveTo>
                    <a:lnTo>
                      <a:pt x="322198" y="558"/>
                    </a:lnTo>
                    <a:lnTo>
                      <a:pt x="321690" y="698"/>
                    </a:lnTo>
                    <a:lnTo>
                      <a:pt x="321309" y="838"/>
                    </a:lnTo>
                    <a:lnTo>
                      <a:pt x="270232" y="17397"/>
                    </a:lnTo>
                    <a:lnTo>
                      <a:pt x="221049" y="24699"/>
                    </a:lnTo>
                    <a:lnTo>
                      <a:pt x="158529" y="27458"/>
                    </a:lnTo>
                    <a:lnTo>
                      <a:pt x="323224" y="27458"/>
                    </a:lnTo>
                    <a:lnTo>
                      <a:pt x="323214" y="139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69" name="object 38">
              <a:extLst>
                <a:ext uri="{FF2B5EF4-FFF2-40B4-BE49-F238E27FC236}">
                  <a16:creationId xmlns:a16="http://schemas.microsoft.com/office/drawing/2014/main" id="{DA729A91-0D52-47CA-8CC2-9DE47DB24322}"/>
                </a:ext>
              </a:extLst>
            </p:cNvPr>
            <p:cNvSpPr txBox="1"/>
            <p:nvPr/>
          </p:nvSpPr>
          <p:spPr>
            <a:xfrm>
              <a:off x="1988357" y="5745034"/>
              <a:ext cx="798944" cy="1368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982"/>
                </a:lnSpc>
              </a:pPr>
              <a:r>
                <a:rPr lang="en-GB" sz="1200" spc="-4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ustomers</a:t>
              </a:r>
              <a:endParaRPr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8F001E13-3257-4D4F-9DF3-CA2EB5A53668}"/>
                </a:ext>
              </a:extLst>
            </p:cNvPr>
            <p:cNvGrpSpPr/>
            <p:nvPr/>
          </p:nvGrpSpPr>
          <p:grpSpPr>
            <a:xfrm>
              <a:off x="4395469" y="5296129"/>
              <a:ext cx="291503" cy="287301"/>
              <a:chOff x="533400" y="4724400"/>
              <a:chExt cx="291503" cy="287301"/>
            </a:xfrm>
          </p:grpSpPr>
          <p:sp>
            <p:nvSpPr>
              <p:cNvPr id="171" name="object 22">
                <a:extLst>
                  <a:ext uri="{FF2B5EF4-FFF2-40B4-BE49-F238E27FC236}">
                    <a16:creationId xmlns:a16="http://schemas.microsoft.com/office/drawing/2014/main" id="{5E3D035E-A577-489C-95B9-709061034289}"/>
                  </a:ext>
                </a:extLst>
              </p:cNvPr>
              <p:cNvSpPr/>
              <p:nvPr/>
            </p:nvSpPr>
            <p:spPr>
              <a:xfrm>
                <a:off x="533687" y="4724400"/>
                <a:ext cx="290695" cy="84105"/>
              </a:xfrm>
              <a:custGeom>
                <a:avLst/>
                <a:gdLst/>
                <a:ahLst/>
                <a:cxnLst/>
                <a:rect l="l" t="t" r="r" b="b"/>
                <a:pathLst>
                  <a:path w="323215" h="85725">
                    <a:moveTo>
                      <a:pt x="161480" y="0"/>
                    </a:moveTo>
                    <a:lnTo>
                      <a:pt x="102290" y="3103"/>
                    </a:lnTo>
                    <a:lnTo>
                      <a:pt x="60396" y="9469"/>
                    </a:lnTo>
                    <a:lnTo>
                      <a:pt x="22542" y="20907"/>
                    </a:lnTo>
                    <a:lnTo>
                      <a:pt x="0" y="43275"/>
                    </a:lnTo>
                    <a:lnTo>
                      <a:pt x="2159" y="49903"/>
                    </a:lnTo>
                    <a:lnTo>
                      <a:pt x="42687" y="71620"/>
                    </a:lnTo>
                    <a:lnTo>
                      <a:pt x="94551" y="81407"/>
                    </a:lnTo>
                    <a:lnTo>
                      <a:pt x="146224" y="85137"/>
                    </a:lnTo>
                    <a:lnTo>
                      <a:pt x="172186" y="85211"/>
                    </a:lnTo>
                    <a:lnTo>
                      <a:pt x="198183" y="84201"/>
                    </a:lnTo>
                    <a:lnTo>
                      <a:pt x="239950" y="80089"/>
                    </a:lnTo>
                    <a:lnTo>
                      <a:pt x="280479" y="71501"/>
                    </a:lnTo>
                    <a:lnTo>
                      <a:pt x="321057" y="49746"/>
                    </a:lnTo>
                    <a:lnTo>
                      <a:pt x="323135" y="43164"/>
                    </a:lnTo>
                    <a:lnTo>
                      <a:pt x="321474" y="36558"/>
                    </a:lnTo>
                    <a:lnTo>
                      <a:pt x="279800" y="13626"/>
                    </a:lnTo>
                    <a:lnTo>
                      <a:pt x="216360" y="2587"/>
                    </a:lnTo>
                    <a:lnTo>
                      <a:pt x="161480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2" name="object 23">
                <a:extLst>
                  <a:ext uri="{FF2B5EF4-FFF2-40B4-BE49-F238E27FC236}">
                    <a16:creationId xmlns:a16="http://schemas.microsoft.com/office/drawing/2014/main" id="{B12B506A-1CD6-4A73-B971-BC8805A9FE3B}"/>
                  </a:ext>
                </a:extLst>
              </p:cNvPr>
              <p:cNvSpPr/>
              <p:nvPr/>
            </p:nvSpPr>
            <p:spPr>
              <a:xfrm>
                <a:off x="533400" y="4937564"/>
                <a:ext cx="291267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850" h="75564">
                    <a:moveTo>
                      <a:pt x="380" y="977"/>
                    </a:moveTo>
                    <a:lnTo>
                      <a:pt x="376" y="25311"/>
                    </a:lnTo>
                    <a:lnTo>
                      <a:pt x="253" y="30352"/>
                    </a:lnTo>
                    <a:lnTo>
                      <a:pt x="0" y="37769"/>
                    </a:lnTo>
                    <a:lnTo>
                      <a:pt x="4063" y="43357"/>
                    </a:lnTo>
                    <a:lnTo>
                      <a:pt x="42290" y="61544"/>
                    </a:lnTo>
                    <a:lnTo>
                      <a:pt x="98190" y="72150"/>
                    </a:lnTo>
                    <a:lnTo>
                      <a:pt x="150711" y="75432"/>
                    </a:lnTo>
                    <a:lnTo>
                      <a:pt x="183943" y="75206"/>
                    </a:lnTo>
                    <a:lnTo>
                      <a:pt x="250062" y="68681"/>
                    </a:lnTo>
                    <a:lnTo>
                      <a:pt x="293496" y="57762"/>
                    </a:lnTo>
                    <a:lnTo>
                      <a:pt x="323722" y="27978"/>
                    </a:lnTo>
                    <a:lnTo>
                      <a:pt x="323611" y="27363"/>
                    </a:lnTo>
                    <a:lnTo>
                      <a:pt x="166862" y="27363"/>
                    </a:lnTo>
                    <a:lnTo>
                      <a:pt x="144587" y="27145"/>
                    </a:lnTo>
                    <a:lnTo>
                      <a:pt x="100724" y="24396"/>
                    </a:lnTo>
                    <a:lnTo>
                      <a:pt x="58239" y="18266"/>
                    </a:lnTo>
                    <a:lnTo>
                      <a:pt x="18891" y="7392"/>
                    </a:lnTo>
                    <a:lnTo>
                      <a:pt x="380" y="977"/>
                    </a:lnTo>
                    <a:close/>
                  </a:path>
                  <a:path w="323850" h="75564">
                    <a:moveTo>
                      <a:pt x="323468" y="0"/>
                    </a:moveTo>
                    <a:lnTo>
                      <a:pt x="319277" y="1816"/>
                    </a:lnTo>
                    <a:lnTo>
                      <a:pt x="315848" y="3492"/>
                    </a:lnTo>
                    <a:lnTo>
                      <a:pt x="312165" y="4889"/>
                    </a:lnTo>
                    <a:lnTo>
                      <a:pt x="263175" y="18772"/>
                    </a:lnTo>
                    <a:lnTo>
                      <a:pt x="211327" y="25311"/>
                    </a:lnTo>
                    <a:lnTo>
                      <a:pt x="166862" y="27363"/>
                    </a:lnTo>
                    <a:lnTo>
                      <a:pt x="323611" y="27363"/>
                    </a:lnTo>
                    <a:lnTo>
                      <a:pt x="323392" y="26149"/>
                    </a:lnTo>
                    <a:lnTo>
                      <a:pt x="323468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3" name="object 24">
                <a:extLst>
                  <a:ext uri="{FF2B5EF4-FFF2-40B4-BE49-F238E27FC236}">
                    <a16:creationId xmlns:a16="http://schemas.microsoft.com/office/drawing/2014/main" id="{64723CA5-A94B-4AFA-8F52-BF06BF8C73B2}"/>
                  </a:ext>
                </a:extLst>
              </p:cNvPr>
              <p:cNvSpPr/>
              <p:nvPr/>
            </p:nvSpPr>
            <p:spPr>
              <a:xfrm>
                <a:off x="533636" y="4802149"/>
                <a:ext cx="291267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850" h="75564">
                    <a:moveTo>
                      <a:pt x="245" y="253"/>
                    </a:moveTo>
                    <a:lnTo>
                      <a:pt x="118" y="888"/>
                    </a:lnTo>
                    <a:lnTo>
                      <a:pt x="0" y="27289"/>
                    </a:lnTo>
                    <a:lnTo>
                      <a:pt x="245" y="32892"/>
                    </a:lnTo>
                    <a:lnTo>
                      <a:pt x="39631" y="60669"/>
                    </a:lnTo>
                    <a:lnTo>
                      <a:pt x="90786" y="70915"/>
                    </a:lnTo>
                    <a:lnTo>
                      <a:pt x="148837" y="75085"/>
                    </a:lnTo>
                    <a:lnTo>
                      <a:pt x="178172" y="74968"/>
                    </a:lnTo>
                    <a:lnTo>
                      <a:pt x="221749" y="72259"/>
                    </a:lnTo>
                    <a:lnTo>
                      <a:pt x="264659" y="65455"/>
                    </a:lnTo>
                    <a:lnTo>
                      <a:pt x="311776" y="48513"/>
                    </a:lnTo>
                    <a:lnTo>
                      <a:pt x="323841" y="37591"/>
                    </a:lnTo>
                    <a:lnTo>
                      <a:pt x="323460" y="29971"/>
                    </a:lnTo>
                    <a:lnTo>
                      <a:pt x="323380" y="27289"/>
                    </a:lnTo>
                    <a:lnTo>
                      <a:pt x="154725" y="27289"/>
                    </a:lnTo>
                    <a:lnTo>
                      <a:pt x="124219" y="26160"/>
                    </a:lnTo>
                    <a:lnTo>
                      <a:pt x="69670" y="20242"/>
                    </a:lnTo>
                    <a:lnTo>
                      <a:pt x="23371" y="9261"/>
                    </a:lnTo>
                    <a:lnTo>
                      <a:pt x="1642" y="380"/>
                    </a:lnTo>
                    <a:lnTo>
                      <a:pt x="1007" y="380"/>
                    </a:lnTo>
                    <a:lnTo>
                      <a:pt x="245" y="253"/>
                    </a:lnTo>
                    <a:close/>
                  </a:path>
                  <a:path w="323850" h="75564">
                    <a:moveTo>
                      <a:pt x="322825" y="0"/>
                    </a:moveTo>
                    <a:lnTo>
                      <a:pt x="318507" y="1904"/>
                    </a:lnTo>
                    <a:lnTo>
                      <a:pt x="314443" y="3809"/>
                    </a:lnTo>
                    <a:lnTo>
                      <a:pt x="310379" y="5460"/>
                    </a:lnTo>
                    <a:lnTo>
                      <a:pt x="264326" y="18367"/>
                    </a:lnTo>
                    <a:lnTo>
                      <a:pt x="215891" y="24891"/>
                    </a:lnTo>
                    <a:lnTo>
                      <a:pt x="154725" y="27289"/>
                    </a:lnTo>
                    <a:lnTo>
                      <a:pt x="323380" y="27289"/>
                    </a:lnTo>
                    <a:lnTo>
                      <a:pt x="323260" y="23250"/>
                    </a:lnTo>
                    <a:lnTo>
                      <a:pt x="323079" y="1269"/>
                    </a:lnTo>
                    <a:lnTo>
                      <a:pt x="322825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4" name="object 25">
                <a:extLst>
                  <a:ext uri="{FF2B5EF4-FFF2-40B4-BE49-F238E27FC236}">
                    <a16:creationId xmlns:a16="http://schemas.microsoft.com/office/drawing/2014/main" id="{B26E078F-3454-4586-B1BD-CE6621B66078}"/>
                  </a:ext>
                </a:extLst>
              </p:cNvPr>
              <p:cNvSpPr/>
              <p:nvPr/>
            </p:nvSpPr>
            <p:spPr>
              <a:xfrm>
                <a:off x="533515" y="4869770"/>
                <a:ext cx="290695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215" h="75564">
                    <a:moveTo>
                      <a:pt x="253" y="0"/>
                    </a:moveTo>
                    <a:lnTo>
                      <a:pt x="221" y="23735"/>
                    </a:lnTo>
                    <a:lnTo>
                      <a:pt x="0" y="28803"/>
                    </a:lnTo>
                    <a:lnTo>
                      <a:pt x="690" y="35276"/>
                    </a:lnTo>
                    <a:lnTo>
                      <a:pt x="33639" y="58778"/>
                    </a:lnTo>
                    <a:lnTo>
                      <a:pt x="86512" y="70442"/>
                    </a:lnTo>
                    <a:lnTo>
                      <a:pt x="151318" y="75218"/>
                    </a:lnTo>
                    <a:lnTo>
                      <a:pt x="184149" y="74828"/>
                    </a:lnTo>
                    <a:lnTo>
                      <a:pt x="228361" y="71596"/>
                    </a:lnTo>
                    <a:lnTo>
                      <a:pt x="271525" y="64058"/>
                    </a:lnTo>
                    <a:lnTo>
                      <a:pt x="311911" y="48526"/>
                    </a:lnTo>
                    <a:lnTo>
                      <a:pt x="322960" y="34823"/>
                    </a:lnTo>
                    <a:lnTo>
                      <a:pt x="323224" y="27458"/>
                    </a:lnTo>
                    <a:lnTo>
                      <a:pt x="158529" y="27458"/>
                    </a:lnTo>
                    <a:lnTo>
                      <a:pt x="127126" y="26428"/>
                    </a:lnTo>
                    <a:lnTo>
                      <a:pt x="94122" y="23735"/>
                    </a:lnTo>
                    <a:lnTo>
                      <a:pt x="61785" y="19034"/>
                    </a:lnTo>
                    <a:lnTo>
                      <a:pt x="30400" y="11423"/>
                    </a:lnTo>
                    <a:lnTo>
                      <a:pt x="253" y="0"/>
                    </a:lnTo>
                    <a:close/>
                  </a:path>
                  <a:path w="323215" h="75564">
                    <a:moveTo>
                      <a:pt x="323214" y="139"/>
                    </a:moveTo>
                    <a:lnTo>
                      <a:pt x="322198" y="558"/>
                    </a:lnTo>
                    <a:lnTo>
                      <a:pt x="321690" y="698"/>
                    </a:lnTo>
                    <a:lnTo>
                      <a:pt x="321309" y="838"/>
                    </a:lnTo>
                    <a:lnTo>
                      <a:pt x="270232" y="17397"/>
                    </a:lnTo>
                    <a:lnTo>
                      <a:pt x="221049" y="24699"/>
                    </a:lnTo>
                    <a:lnTo>
                      <a:pt x="158529" y="27458"/>
                    </a:lnTo>
                    <a:lnTo>
                      <a:pt x="323224" y="27458"/>
                    </a:lnTo>
                    <a:lnTo>
                      <a:pt x="323214" y="139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75" name="object 38">
              <a:extLst>
                <a:ext uri="{FF2B5EF4-FFF2-40B4-BE49-F238E27FC236}">
                  <a16:creationId xmlns:a16="http://schemas.microsoft.com/office/drawing/2014/main" id="{C20CDF92-96F1-42F3-B463-6FA866CBCF90}"/>
                </a:ext>
              </a:extLst>
            </p:cNvPr>
            <p:cNvSpPr txBox="1"/>
            <p:nvPr/>
          </p:nvSpPr>
          <p:spPr>
            <a:xfrm>
              <a:off x="4230149" y="5701537"/>
              <a:ext cx="600829" cy="1368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982"/>
                </a:lnSpc>
              </a:pPr>
              <a:r>
                <a:rPr lang="en-US" sz="1200" spc="-4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laims</a:t>
              </a:r>
              <a:endParaRPr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63B100CD-1C10-4066-A7E3-BB71CE0A39BB}"/>
                </a:ext>
              </a:extLst>
            </p:cNvPr>
            <p:cNvGrpSpPr/>
            <p:nvPr/>
          </p:nvGrpSpPr>
          <p:grpSpPr>
            <a:xfrm>
              <a:off x="6760751" y="5292512"/>
              <a:ext cx="291503" cy="287301"/>
              <a:chOff x="533400" y="4724400"/>
              <a:chExt cx="291503" cy="287301"/>
            </a:xfrm>
          </p:grpSpPr>
          <p:sp>
            <p:nvSpPr>
              <p:cNvPr id="177" name="object 22">
                <a:extLst>
                  <a:ext uri="{FF2B5EF4-FFF2-40B4-BE49-F238E27FC236}">
                    <a16:creationId xmlns:a16="http://schemas.microsoft.com/office/drawing/2014/main" id="{86F5B00C-168D-4046-8810-DD238115765E}"/>
                  </a:ext>
                </a:extLst>
              </p:cNvPr>
              <p:cNvSpPr/>
              <p:nvPr/>
            </p:nvSpPr>
            <p:spPr>
              <a:xfrm>
                <a:off x="533687" y="4724400"/>
                <a:ext cx="290695" cy="84105"/>
              </a:xfrm>
              <a:custGeom>
                <a:avLst/>
                <a:gdLst/>
                <a:ahLst/>
                <a:cxnLst/>
                <a:rect l="l" t="t" r="r" b="b"/>
                <a:pathLst>
                  <a:path w="323215" h="85725">
                    <a:moveTo>
                      <a:pt x="161480" y="0"/>
                    </a:moveTo>
                    <a:lnTo>
                      <a:pt x="102290" y="3103"/>
                    </a:lnTo>
                    <a:lnTo>
                      <a:pt x="60396" y="9469"/>
                    </a:lnTo>
                    <a:lnTo>
                      <a:pt x="22542" y="20907"/>
                    </a:lnTo>
                    <a:lnTo>
                      <a:pt x="0" y="43275"/>
                    </a:lnTo>
                    <a:lnTo>
                      <a:pt x="2159" y="49903"/>
                    </a:lnTo>
                    <a:lnTo>
                      <a:pt x="42687" y="71620"/>
                    </a:lnTo>
                    <a:lnTo>
                      <a:pt x="94551" y="81407"/>
                    </a:lnTo>
                    <a:lnTo>
                      <a:pt x="146224" y="85137"/>
                    </a:lnTo>
                    <a:lnTo>
                      <a:pt x="172186" y="85211"/>
                    </a:lnTo>
                    <a:lnTo>
                      <a:pt x="198183" y="84201"/>
                    </a:lnTo>
                    <a:lnTo>
                      <a:pt x="239950" y="80089"/>
                    </a:lnTo>
                    <a:lnTo>
                      <a:pt x="280479" y="71501"/>
                    </a:lnTo>
                    <a:lnTo>
                      <a:pt x="321057" y="49746"/>
                    </a:lnTo>
                    <a:lnTo>
                      <a:pt x="323135" y="43164"/>
                    </a:lnTo>
                    <a:lnTo>
                      <a:pt x="321474" y="36558"/>
                    </a:lnTo>
                    <a:lnTo>
                      <a:pt x="279800" y="13626"/>
                    </a:lnTo>
                    <a:lnTo>
                      <a:pt x="216360" y="2587"/>
                    </a:lnTo>
                    <a:lnTo>
                      <a:pt x="161480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8" name="object 23">
                <a:extLst>
                  <a:ext uri="{FF2B5EF4-FFF2-40B4-BE49-F238E27FC236}">
                    <a16:creationId xmlns:a16="http://schemas.microsoft.com/office/drawing/2014/main" id="{60E14902-37ED-4477-B902-3A6D3710DC83}"/>
                  </a:ext>
                </a:extLst>
              </p:cNvPr>
              <p:cNvSpPr/>
              <p:nvPr/>
            </p:nvSpPr>
            <p:spPr>
              <a:xfrm>
                <a:off x="533400" y="4937564"/>
                <a:ext cx="291267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850" h="75564">
                    <a:moveTo>
                      <a:pt x="380" y="977"/>
                    </a:moveTo>
                    <a:lnTo>
                      <a:pt x="376" y="25311"/>
                    </a:lnTo>
                    <a:lnTo>
                      <a:pt x="253" y="30352"/>
                    </a:lnTo>
                    <a:lnTo>
                      <a:pt x="0" y="37769"/>
                    </a:lnTo>
                    <a:lnTo>
                      <a:pt x="4063" y="43357"/>
                    </a:lnTo>
                    <a:lnTo>
                      <a:pt x="42290" y="61544"/>
                    </a:lnTo>
                    <a:lnTo>
                      <a:pt x="98190" y="72150"/>
                    </a:lnTo>
                    <a:lnTo>
                      <a:pt x="150711" y="75432"/>
                    </a:lnTo>
                    <a:lnTo>
                      <a:pt x="183943" y="75206"/>
                    </a:lnTo>
                    <a:lnTo>
                      <a:pt x="250062" y="68681"/>
                    </a:lnTo>
                    <a:lnTo>
                      <a:pt x="293496" y="57762"/>
                    </a:lnTo>
                    <a:lnTo>
                      <a:pt x="323722" y="27978"/>
                    </a:lnTo>
                    <a:lnTo>
                      <a:pt x="323611" y="27363"/>
                    </a:lnTo>
                    <a:lnTo>
                      <a:pt x="166862" y="27363"/>
                    </a:lnTo>
                    <a:lnTo>
                      <a:pt x="144587" y="27145"/>
                    </a:lnTo>
                    <a:lnTo>
                      <a:pt x="100724" y="24396"/>
                    </a:lnTo>
                    <a:lnTo>
                      <a:pt x="58239" y="18266"/>
                    </a:lnTo>
                    <a:lnTo>
                      <a:pt x="18891" y="7392"/>
                    </a:lnTo>
                    <a:lnTo>
                      <a:pt x="380" y="977"/>
                    </a:lnTo>
                    <a:close/>
                  </a:path>
                  <a:path w="323850" h="75564">
                    <a:moveTo>
                      <a:pt x="323468" y="0"/>
                    </a:moveTo>
                    <a:lnTo>
                      <a:pt x="319277" y="1816"/>
                    </a:lnTo>
                    <a:lnTo>
                      <a:pt x="315848" y="3492"/>
                    </a:lnTo>
                    <a:lnTo>
                      <a:pt x="312165" y="4889"/>
                    </a:lnTo>
                    <a:lnTo>
                      <a:pt x="263175" y="18772"/>
                    </a:lnTo>
                    <a:lnTo>
                      <a:pt x="211327" y="25311"/>
                    </a:lnTo>
                    <a:lnTo>
                      <a:pt x="166862" y="27363"/>
                    </a:lnTo>
                    <a:lnTo>
                      <a:pt x="323611" y="27363"/>
                    </a:lnTo>
                    <a:lnTo>
                      <a:pt x="323392" y="26149"/>
                    </a:lnTo>
                    <a:lnTo>
                      <a:pt x="323468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9" name="object 24">
                <a:extLst>
                  <a:ext uri="{FF2B5EF4-FFF2-40B4-BE49-F238E27FC236}">
                    <a16:creationId xmlns:a16="http://schemas.microsoft.com/office/drawing/2014/main" id="{D015C58D-9A7A-4CFB-8204-0D6F7794AD2D}"/>
                  </a:ext>
                </a:extLst>
              </p:cNvPr>
              <p:cNvSpPr/>
              <p:nvPr/>
            </p:nvSpPr>
            <p:spPr>
              <a:xfrm>
                <a:off x="533636" y="4802149"/>
                <a:ext cx="291267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850" h="75564">
                    <a:moveTo>
                      <a:pt x="245" y="253"/>
                    </a:moveTo>
                    <a:lnTo>
                      <a:pt x="118" y="888"/>
                    </a:lnTo>
                    <a:lnTo>
                      <a:pt x="0" y="27289"/>
                    </a:lnTo>
                    <a:lnTo>
                      <a:pt x="245" y="32892"/>
                    </a:lnTo>
                    <a:lnTo>
                      <a:pt x="39631" y="60669"/>
                    </a:lnTo>
                    <a:lnTo>
                      <a:pt x="90786" y="70915"/>
                    </a:lnTo>
                    <a:lnTo>
                      <a:pt x="148837" y="75085"/>
                    </a:lnTo>
                    <a:lnTo>
                      <a:pt x="178172" y="74968"/>
                    </a:lnTo>
                    <a:lnTo>
                      <a:pt x="221749" y="72259"/>
                    </a:lnTo>
                    <a:lnTo>
                      <a:pt x="264659" y="65455"/>
                    </a:lnTo>
                    <a:lnTo>
                      <a:pt x="311776" y="48513"/>
                    </a:lnTo>
                    <a:lnTo>
                      <a:pt x="323841" y="37591"/>
                    </a:lnTo>
                    <a:lnTo>
                      <a:pt x="323460" y="29971"/>
                    </a:lnTo>
                    <a:lnTo>
                      <a:pt x="323380" y="27289"/>
                    </a:lnTo>
                    <a:lnTo>
                      <a:pt x="154725" y="27289"/>
                    </a:lnTo>
                    <a:lnTo>
                      <a:pt x="124219" y="26160"/>
                    </a:lnTo>
                    <a:lnTo>
                      <a:pt x="69670" y="20242"/>
                    </a:lnTo>
                    <a:lnTo>
                      <a:pt x="23371" y="9261"/>
                    </a:lnTo>
                    <a:lnTo>
                      <a:pt x="1642" y="380"/>
                    </a:lnTo>
                    <a:lnTo>
                      <a:pt x="1007" y="380"/>
                    </a:lnTo>
                    <a:lnTo>
                      <a:pt x="245" y="253"/>
                    </a:lnTo>
                    <a:close/>
                  </a:path>
                  <a:path w="323850" h="75564">
                    <a:moveTo>
                      <a:pt x="322825" y="0"/>
                    </a:moveTo>
                    <a:lnTo>
                      <a:pt x="318507" y="1904"/>
                    </a:lnTo>
                    <a:lnTo>
                      <a:pt x="314443" y="3809"/>
                    </a:lnTo>
                    <a:lnTo>
                      <a:pt x="310379" y="5460"/>
                    </a:lnTo>
                    <a:lnTo>
                      <a:pt x="264326" y="18367"/>
                    </a:lnTo>
                    <a:lnTo>
                      <a:pt x="215891" y="24891"/>
                    </a:lnTo>
                    <a:lnTo>
                      <a:pt x="154725" y="27289"/>
                    </a:lnTo>
                    <a:lnTo>
                      <a:pt x="323380" y="27289"/>
                    </a:lnTo>
                    <a:lnTo>
                      <a:pt x="323260" y="23250"/>
                    </a:lnTo>
                    <a:lnTo>
                      <a:pt x="323079" y="1269"/>
                    </a:lnTo>
                    <a:lnTo>
                      <a:pt x="322825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0" name="object 25">
                <a:extLst>
                  <a:ext uri="{FF2B5EF4-FFF2-40B4-BE49-F238E27FC236}">
                    <a16:creationId xmlns:a16="http://schemas.microsoft.com/office/drawing/2014/main" id="{B3D406BE-5546-4BDA-9265-F6E9886B12C3}"/>
                  </a:ext>
                </a:extLst>
              </p:cNvPr>
              <p:cNvSpPr/>
              <p:nvPr/>
            </p:nvSpPr>
            <p:spPr>
              <a:xfrm>
                <a:off x="533515" y="4869770"/>
                <a:ext cx="290695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215" h="75564">
                    <a:moveTo>
                      <a:pt x="253" y="0"/>
                    </a:moveTo>
                    <a:lnTo>
                      <a:pt x="221" y="23735"/>
                    </a:lnTo>
                    <a:lnTo>
                      <a:pt x="0" y="28803"/>
                    </a:lnTo>
                    <a:lnTo>
                      <a:pt x="690" y="35276"/>
                    </a:lnTo>
                    <a:lnTo>
                      <a:pt x="33639" y="58778"/>
                    </a:lnTo>
                    <a:lnTo>
                      <a:pt x="86512" y="70442"/>
                    </a:lnTo>
                    <a:lnTo>
                      <a:pt x="151318" y="75218"/>
                    </a:lnTo>
                    <a:lnTo>
                      <a:pt x="184149" y="74828"/>
                    </a:lnTo>
                    <a:lnTo>
                      <a:pt x="228361" y="71596"/>
                    </a:lnTo>
                    <a:lnTo>
                      <a:pt x="271525" y="64058"/>
                    </a:lnTo>
                    <a:lnTo>
                      <a:pt x="311911" y="48526"/>
                    </a:lnTo>
                    <a:lnTo>
                      <a:pt x="322960" y="34823"/>
                    </a:lnTo>
                    <a:lnTo>
                      <a:pt x="323224" y="27458"/>
                    </a:lnTo>
                    <a:lnTo>
                      <a:pt x="158529" y="27458"/>
                    </a:lnTo>
                    <a:lnTo>
                      <a:pt x="127126" y="26428"/>
                    </a:lnTo>
                    <a:lnTo>
                      <a:pt x="94122" y="23735"/>
                    </a:lnTo>
                    <a:lnTo>
                      <a:pt x="61785" y="19034"/>
                    </a:lnTo>
                    <a:lnTo>
                      <a:pt x="30400" y="11423"/>
                    </a:lnTo>
                    <a:lnTo>
                      <a:pt x="253" y="0"/>
                    </a:lnTo>
                    <a:close/>
                  </a:path>
                  <a:path w="323215" h="75564">
                    <a:moveTo>
                      <a:pt x="323214" y="139"/>
                    </a:moveTo>
                    <a:lnTo>
                      <a:pt x="322198" y="558"/>
                    </a:lnTo>
                    <a:lnTo>
                      <a:pt x="321690" y="698"/>
                    </a:lnTo>
                    <a:lnTo>
                      <a:pt x="321309" y="838"/>
                    </a:lnTo>
                    <a:lnTo>
                      <a:pt x="270232" y="17397"/>
                    </a:lnTo>
                    <a:lnTo>
                      <a:pt x="221049" y="24699"/>
                    </a:lnTo>
                    <a:lnTo>
                      <a:pt x="158529" y="27458"/>
                    </a:lnTo>
                    <a:lnTo>
                      <a:pt x="323224" y="27458"/>
                    </a:lnTo>
                    <a:lnTo>
                      <a:pt x="323214" y="139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81" name="object 38">
              <a:extLst>
                <a:ext uri="{FF2B5EF4-FFF2-40B4-BE49-F238E27FC236}">
                  <a16:creationId xmlns:a16="http://schemas.microsoft.com/office/drawing/2014/main" id="{A8D43131-FC8B-454E-9E1E-B7FB1B0F00C0}"/>
                </a:ext>
              </a:extLst>
            </p:cNvPr>
            <p:cNvSpPr txBox="1"/>
            <p:nvPr/>
          </p:nvSpPr>
          <p:spPr>
            <a:xfrm>
              <a:off x="6488029" y="5705128"/>
              <a:ext cx="826208" cy="1368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982"/>
                </a:lnSpc>
              </a:pPr>
              <a:r>
                <a:rPr lang="en-US" sz="1200" spc="-4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dical</a:t>
              </a:r>
              <a:endParaRPr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EC9D929B-E838-4A16-ACB4-4FEA170A4DB1}"/>
                </a:ext>
              </a:extLst>
            </p:cNvPr>
            <p:cNvGrpSpPr/>
            <p:nvPr/>
          </p:nvGrpSpPr>
          <p:grpSpPr>
            <a:xfrm>
              <a:off x="8889844" y="5297974"/>
              <a:ext cx="291503" cy="287301"/>
              <a:chOff x="533400" y="4724400"/>
              <a:chExt cx="291503" cy="287301"/>
            </a:xfrm>
          </p:grpSpPr>
          <p:sp>
            <p:nvSpPr>
              <p:cNvPr id="183" name="object 22">
                <a:extLst>
                  <a:ext uri="{FF2B5EF4-FFF2-40B4-BE49-F238E27FC236}">
                    <a16:creationId xmlns:a16="http://schemas.microsoft.com/office/drawing/2014/main" id="{61E9337E-732F-46E8-B4E2-BE435D145054}"/>
                  </a:ext>
                </a:extLst>
              </p:cNvPr>
              <p:cNvSpPr/>
              <p:nvPr/>
            </p:nvSpPr>
            <p:spPr>
              <a:xfrm>
                <a:off x="533687" y="4724400"/>
                <a:ext cx="290695" cy="84105"/>
              </a:xfrm>
              <a:custGeom>
                <a:avLst/>
                <a:gdLst/>
                <a:ahLst/>
                <a:cxnLst/>
                <a:rect l="l" t="t" r="r" b="b"/>
                <a:pathLst>
                  <a:path w="323215" h="85725">
                    <a:moveTo>
                      <a:pt x="161480" y="0"/>
                    </a:moveTo>
                    <a:lnTo>
                      <a:pt x="102290" y="3103"/>
                    </a:lnTo>
                    <a:lnTo>
                      <a:pt x="60396" y="9469"/>
                    </a:lnTo>
                    <a:lnTo>
                      <a:pt x="22542" y="20907"/>
                    </a:lnTo>
                    <a:lnTo>
                      <a:pt x="0" y="43275"/>
                    </a:lnTo>
                    <a:lnTo>
                      <a:pt x="2159" y="49903"/>
                    </a:lnTo>
                    <a:lnTo>
                      <a:pt x="42687" y="71620"/>
                    </a:lnTo>
                    <a:lnTo>
                      <a:pt x="94551" y="81407"/>
                    </a:lnTo>
                    <a:lnTo>
                      <a:pt x="146224" y="85137"/>
                    </a:lnTo>
                    <a:lnTo>
                      <a:pt x="172186" y="85211"/>
                    </a:lnTo>
                    <a:lnTo>
                      <a:pt x="198183" y="84201"/>
                    </a:lnTo>
                    <a:lnTo>
                      <a:pt x="239950" y="80089"/>
                    </a:lnTo>
                    <a:lnTo>
                      <a:pt x="280479" y="71501"/>
                    </a:lnTo>
                    <a:lnTo>
                      <a:pt x="321057" y="49746"/>
                    </a:lnTo>
                    <a:lnTo>
                      <a:pt x="323135" y="43164"/>
                    </a:lnTo>
                    <a:lnTo>
                      <a:pt x="321474" y="36558"/>
                    </a:lnTo>
                    <a:lnTo>
                      <a:pt x="279800" y="13626"/>
                    </a:lnTo>
                    <a:lnTo>
                      <a:pt x="216360" y="2587"/>
                    </a:lnTo>
                    <a:lnTo>
                      <a:pt x="161480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4" name="object 23">
                <a:extLst>
                  <a:ext uri="{FF2B5EF4-FFF2-40B4-BE49-F238E27FC236}">
                    <a16:creationId xmlns:a16="http://schemas.microsoft.com/office/drawing/2014/main" id="{67C16E65-7E70-4C1F-953F-C34C3F459774}"/>
                  </a:ext>
                </a:extLst>
              </p:cNvPr>
              <p:cNvSpPr/>
              <p:nvPr/>
            </p:nvSpPr>
            <p:spPr>
              <a:xfrm>
                <a:off x="533400" y="4937564"/>
                <a:ext cx="291267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850" h="75564">
                    <a:moveTo>
                      <a:pt x="380" y="977"/>
                    </a:moveTo>
                    <a:lnTo>
                      <a:pt x="376" y="25311"/>
                    </a:lnTo>
                    <a:lnTo>
                      <a:pt x="253" y="30352"/>
                    </a:lnTo>
                    <a:lnTo>
                      <a:pt x="0" y="37769"/>
                    </a:lnTo>
                    <a:lnTo>
                      <a:pt x="4063" y="43357"/>
                    </a:lnTo>
                    <a:lnTo>
                      <a:pt x="42290" y="61544"/>
                    </a:lnTo>
                    <a:lnTo>
                      <a:pt x="98190" y="72150"/>
                    </a:lnTo>
                    <a:lnTo>
                      <a:pt x="150711" y="75432"/>
                    </a:lnTo>
                    <a:lnTo>
                      <a:pt x="183943" y="75206"/>
                    </a:lnTo>
                    <a:lnTo>
                      <a:pt x="250062" y="68681"/>
                    </a:lnTo>
                    <a:lnTo>
                      <a:pt x="293496" y="57762"/>
                    </a:lnTo>
                    <a:lnTo>
                      <a:pt x="323722" y="27978"/>
                    </a:lnTo>
                    <a:lnTo>
                      <a:pt x="323611" y="27363"/>
                    </a:lnTo>
                    <a:lnTo>
                      <a:pt x="166862" y="27363"/>
                    </a:lnTo>
                    <a:lnTo>
                      <a:pt x="144587" y="27145"/>
                    </a:lnTo>
                    <a:lnTo>
                      <a:pt x="100724" y="24396"/>
                    </a:lnTo>
                    <a:lnTo>
                      <a:pt x="58239" y="18266"/>
                    </a:lnTo>
                    <a:lnTo>
                      <a:pt x="18891" y="7392"/>
                    </a:lnTo>
                    <a:lnTo>
                      <a:pt x="380" y="977"/>
                    </a:lnTo>
                    <a:close/>
                  </a:path>
                  <a:path w="323850" h="75564">
                    <a:moveTo>
                      <a:pt x="323468" y="0"/>
                    </a:moveTo>
                    <a:lnTo>
                      <a:pt x="319277" y="1816"/>
                    </a:lnTo>
                    <a:lnTo>
                      <a:pt x="315848" y="3492"/>
                    </a:lnTo>
                    <a:lnTo>
                      <a:pt x="312165" y="4889"/>
                    </a:lnTo>
                    <a:lnTo>
                      <a:pt x="263175" y="18772"/>
                    </a:lnTo>
                    <a:lnTo>
                      <a:pt x="211327" y="25311"/>
                    </a:lnTo>
                    <a:lnTo>
                      <a:pt x="166862" y="27363"/>
                    </a:lnTo>
                    <a:lnTo>
                      <a:pt x="323611" y="27363"/>
                    </a:lnTo>
                    <a:lnTo>
                      <a:pt x="323392" y="26149"/>
                    </a:lnTo>
                    <a:lnTo>
                      <a:pt x="323468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5" name="object 24">
                <a:extLst>
                  <a:ext uri="{FF2B5EF4-FFF2-40B4-BE49-F238E27FC236}">
                    <a16:creationId xmlns:a16="http://schemas.microsoft.com/office/drawing/2014/main" id="{ACB076B8-C266-49BD-9F44-12927E5084F2}"/>
                  </a:ext>
                </a:extLst>
              </p:cNvPr>
              <p:cNvSpPr/>
              <p:nvPr/>
            </p:nvSpPr>
            <p:spPr>
              <a:xfrm>
                <a:off x="533636" y="4802149"/>
                <a:ext cx="291267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850" h="75564">
                    <a:moveTo>
                      <a:pt x="245" y="253"/>
                    </a:moveTo>
                    <a:lnTo>
                      <a:pt x="118" y="888"/>
                    </a:lnTo>
                    <a:lnTo>
                      <a:pt x="0" y="27289"/>
                    </a:lnTo>
                    <a:lnTo>
                      <a:pt x="245" y="32892"/>
                    </a:lnTo>
                    <a:lnTo>
                      <a:pt x="39631" y="60669"/>
                    </a:lnTo>
                    <a:lnTo>
                      <a:pt x="90786" y="70915"/>
                    </a:lnTo>
                    <a:lnTo>
                      <a:pt x="148837" y="75085"/>
                    </a:lnTo>
                    <a:lnTo>
                      <a:pt x="178172" y="74968"/>
                    </a:lnTo>
                    <a:lnTo>
                      <a:pt x="221749" y="72259"/>
                    </a:lnTo>
                    <a:lnTo>
                      <a:pt x="264659" y="65455"/>
                    </a:lnTo>
                    <a:lnTo>
                      <a:pt x="311776" y="48513"/>
                    </a:lnTo>
                    <a:lnTo>
                      <a:pt x="323841" y="37591"/>
                    </a:lnTo>
                    <a:lnTo>
                      <a:pt x="323460" y="29971"/>
                    </a:lnTo>
                    <a:lnTo>
                      <a:pt x="323380" y="27289"/>
                    </a:lnTo>
                    <a:lnTo>
                      <a:pt x="154725" y="27289"/>
                    </a:lnTo>
                    <a:lnTo>
                      <a:pt x="124219" y="26160"/>
                    </a:lnTo>
                    <a:lnTo>
                      <a:pt x="69670" y="20242"/>
                    </a:lnTo>
                    <a:lnTo>
                      <a:pt x="23371" y="9261"/>
                    </a:lnTo>
                    <a:lnTo>
                      <a:pt x="1642" y="380"/>
                    </a:lnTo>
                    <a:lnTo>
                      <a:pt x="1007" y="380"/>
                    </a:lnTo>
                    <a:lnTo>
                      <a:pt x="245" y="253"/>
                    </a:lnTo>
                    <a:close/>
                  </a:path>
                  <a:path w="323850" h="75564">
                    <a:moveTo>
                      <a:pt x="322825" y="0"/>
                    </a:moveTo>
                    <a:lnTo>
                      <a:pt x="318507" y="1904"/>
                    </a:lnTo>
                    <a:lnTo>
                      <a:pt x="314443" y="3809"/>
                    </a:lnTo>
                    <a:lnTo>
                      <a:pt x="310379" y="5460"/>
                    </a:lnTo>
                    <a:lnTo>
                      <a:pt x="264326" y="18367"/>
                    </a:lnTo>
                    <a:lnTo>
                      <a:pt x="215891" y="24891"/>
                    </a:lnTo>
                    <a:lnTo>
                      <a:pt x="154725" y="27289"/>
                    </a:lnTo>
                    <a:lnTo>
                      <a:pt x="323380" y="27289"/>
                    </a:lnTo>
                    <a:lnTo>
                      <a:pt x="323260" y="23250"/>
                    </a:lnTo>
                    <a:lnTo>
                      <a:pt x="323079" y="1269"/>
                    </a:lnTo>
                    <a:lnTo>
                      <a:pt x="322825" y="0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6" name="object 25">
                <a:extLst>
                  <a:ext uri="{FF2B5EF4-FFF2-40B4-BE49-F238E27FC236}">
                    <a16:creationId xmlns:a16="http://schemas.microsoft.com/office/drawing/2014/main" id="{7DA67D56-1F5B-4705-99FA-B27E85E9C510}"/>
                  </a:ext>
                </a:extLst>
              </p:cNvPr>
              <p:cNvSpPr/>
              <p:nvPr/>
            </p:nvSpPr>
            <p:spPr>
              <a:xfrm>
                <a:off x="533515" y="4869770"/>
                <a:ext cx="290695" cy="74137"/>
              </a:xfrm>
              <a:custGeom>
                <a:avLst/>
                <a:gdLst/>
                <a:ahLst/>
                <a:cxnLst/>
                <a:rect l="l" t="t" r="r" b="b"/>
                <a:pathLst>
                  <a:path w="323215" h="75564">
                    <a:moveTo>
                      <a:pt x="253" y="0"/>
                    </a:moveTo>
                    <a:lnTo>
                      <a:pt x="221" y="23735"/>
                    </a:lnTo>
                    <a:lnTo>
                      <a:pt x="0" y="28803"/>
                    </a:lnTo>
                    <a:lnTo>
                      <a:pt x="690" y="35276"/>
                    </a:lnTo>
                    <a:lnTo>
                      <a:pt x="33639" y="58778"/>
                    </a:lnTo>
                    <a:lnTo>
                      <a:pt x="86512" y="70442"/>
                    </a:lnTo>
                    <a:lnTo>
                      <a:pt x="151318" y="75218"/>
                    </a:lnTo>
                    <a:lnTo>
                      <a:pt x="184149" y="74828"/>
                    </a:lnTo>
                    <a:lnTo>
                      <a:pt x="228361" y="71596"/>
                    </a:lnTo>
                    <a:lnTo>
                      <a:pt x="271525" y="64058"/>
                    </a:lnTo>
                    <a:lnTo>
                      <a:pt x="311911" y="48526"/>
                    </a:lnTo>
                    <a:lnTo>
                      <a:pt x="322960" y="34823"/>
                    </a:lnTo>
                    <a:lnTo>
                      <a:pt x="323224" y="27458"/>
                    </a:lnTo>
                    <a:lnTo>
                      <a:pt x="158529" y="27458"/>
                    </a:lnTo>
                    <a:lnTo>
                      <a:pt x="127126" y="26428"/>
                    </a:lnTo>
                    <a:lnTo>
                      <a:pt x="94122" y="23735"/>
                    </a:lnTo>
                    <a:lnTo>
                      <a:pt x="61785" y="19034"/>
                    </a:lnTo>
                    <a:lnTo>
                      <a:pt x="30400" y="11423"/>
                    </a:lnTo>
                    <a:lnTo>
                      <a:pt x="253" y="0"/>
                    </a:lnTo>
                    <a:close/>
                  </a:path>
                  <a:path w="323215" h="75564">
                    <a:moveTo>
                      <a:pt x="323214" y="139"/>
                    </a:moveTo>
                    <a:lnTo>
                      <a:pt x="322198" y="558"/>
                    </a:lnTo>
                    <a:lnTo>
                      <a:pt x="321690" y="698"/>
                    </a:lnTo>
                    <a:lnTo>
                      <a:pt x="321309" y="838"/>
                    </a:lnTo>
                    <a:lnTo>
                      <a:pt x="270232" y="17397"/>
                    </a:lnTo>
                    <a:lnTo>
                      <a:pt x="221049" y="24699"/>
                    </a:lnTo>
                    <a:lnTo>
                      <a:pt x="158529" y="27458"/>
                    </a:lnTo>
                    <a:lnTo>
                      <a:pt x="323224" y="27458"/>
                    </a:lnTo>
                    <a:lnTo>
                      <a:pt x="323214" y="139"/>
                    </a:lnTo>
                    <a:close/>
                  </a:path>
                </a:pathLst>
              </a:custGeom>
              <a:solidFill>
                <a:srgbClr val="4D4E52"/>
              </a:solidFill>
            </p:spPr>
            <p:txBody>
              <a:bodyPr wrap="square" lIns="0" tIns="0" rIns="0" bIns="0" rtlCol="0"/>
              <a:lstStyle/>
              <a:p>
                <a:pPr>
                  <a:defRPr/>
                </a:pPr>
                <a:endParaRPr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87" name="object 38">
              <a:extLst>
                <a:ext uri="{FF2B5EF4-FFF2-40B4-BE49-F238E27FC236}">
                  <a16:creationId xmlns:a16="http://schemas.microsoft.com/office/drawing/2014/main" id="{9993F3DB-0A18-4384-B49C-710710DD6474}"/>
                </a:ext>
              </a:extLst>
            </p:cNvPr>
            <p:cNvSpPr txBox="1"/>
            <p:nvPr/>
          </p:nvSpPr>
          <p:spPr>
            <a:xfrm>
              <a:off x="8633774" y="5703308"/>
              <a:ext cx="826208" cy="1368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ts val="982"/>
                </a:lnSpc>
              </a:pPr>
              <a:r>
                <a:rPr lang="en-US" sz="1200" spc="-4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ther Data</a:t>
              </a:r>
              <a:endParaRPr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98" name="Graphic 197">
              <a:extLst>
                <a:ext uri="{FF2B5EF4-FFF2-40B4-BE49-F238E27FC236}">
                  <a16:creationId xmlns:a16="http://schemas.microsoft.com/office/drawing/2014/main" id="{3AED122E-8E53-4F47-9401-0044830D6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789235" y="2952378"/>
              <a:ext cx="606718" cy="591550"/>
            </a:xfrm>
            <a:prstGeom prst="rect">
              <a:avLst/>
            </a:prstGeom>
          </p:spPr>
        </p:pic>
        <p:grpSp>
          <p:nvGrpSpPr>
            <p:cNvPr id="229" name="Group 228">
              <a:extLst>
                <a:ext uri="{FF2B5EF4-FFF2-40B4-BE49-F238E27FC236}">
                  <a16:creationId xmlns:a16="http://schemas.microsoft.com/office/drawing/2014/main" id="{B93A395E-7734-401B-BF07-140D12734D94}"/>
                </a:ext>
              </a:extLst>
            </p:cNvPr>
            <p:cNvGrpSpPr/>
            <p:nvPr/>
          </p:nvGrpSpPr>
          <p:grpSpPr>
            <a:xfrm>
              <a:off x="3248019" y="4308353"/>
              <a:ext cx="370991" cy="415392"/>
              <a:chOff x="295480" y="3220870"/>
              <a:chExt cx="282299" cy="308446"/>
            </a:xfrm>
          </p:grpSpPr>
          <p:sp>
            <p:nvSpPr>
              <p:cNvPr id="223" name="Freeform 285">
                <a:extLst>
                  <a:ext uri="{FF2B5EF4-FFF2-40B4-BE49-F238E27FC236}">
                    <a16:creationId xmlns:a16="http://schemas.microsoft.com/office/drawing/2014/main" id="{B7558187-E515-144B-A4F1-A6C49E8E41DD}"/>
                  </a:ext>
                </a:extLst>
              </p:cNvPr>
              <p:cNvSpPr/>
              <p:nvPr/>
            </p:nvSpPr>
            <p:spPr>
              <a:xfrm>
                <a:off x="295480" y="3246574"/>
                <a:ext cx="206800" cy="207271"/>
              </a:xfrm>
              <a:custGeom>
                <a:avLst/>
                <a:gdLst>
                  <a:gd name="connsiteX0" fmla="*/ 105227 w 206801"/>
                  <a:gd name="connsiteY0" fmla="*/ 198849 h 207271"/>
                  <a:gd name="connsiteX1" fmla="*/ 11127 w 206801"/>
                  <a:gd name="connsiteY1" fmla="*/ 104784 h 207271"/>
                  <a:gd name="connsiteX2" fmla="*/ 105227 w 206801"/>
                  <a:gd name="connsiteY2" fmla="*/ 10719 h 207271"/>
                  <a:gd name="connsiteX3" fmla="*/ 199327 w 206801"/>
                  <a:gd name="connsiteY3" fmla="*/ 104784 h 207271"/>
                  <a:gd name="connsiteX4" fmla="*/ 105227 w 206801"/>
                  <a:gd name="connsiteY4" fmla="*/ 198849 h 207271"/>
                  <a:gd name="connsiteX5" fmla="*/ 105227 w 206801"/>
                  <a:gd name="connsiteY5" fmla="*/ 875 h 207271"/>
                  <a:gd name="connsiteX6" fmla="*/ 1826 w 206801"/>
                  <a:gd name="connsiteY6" fmla="*/ 104784 h 207271"/>
                  <a:gd name="connsiteX7" fmla="*/ 105227 w 206801"/>
                  <a:gd name="connsiteY7" fmla="*/ 208146 h 207271"/>
                  <a:gd name="connsiteX8" fmla="*/ 208628 w 206801"/>
                  <a:gd name="connsiteY8" fmla="*/ 104784 h 207271"/>
                  <a:gd name="connsiteX9" fmla="*/ 105227 w 206801"/>
                  <a:gd name="connsiteY9" fmla="*/ 875 h 207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6801" h="207271">
                    <a:moveTo>
                      <a:pt x="105227" y="198849"/>
                    </a:moveTo>
                    <a:cubicBezTo>
                      <a:pt x="53253" y="198849"/>
                      <a:pt x="11127" y="156739"/>
                      <a:pt x="11127" y="104784"/>
                    </a:cubicBezTo>
                    <a:cubicBezTo>
                      <a:pt x="11127" y="52830"/>
                      <a:pt x="53253" y="10719"/>
                      <a:pt x="105227" y="10719"/>
                    </a:cubicBezTo>
                    <a:cubicBezTo>
                      <a:pt x="157201" y="10719"/>
                      <a:pt x="199327" y="52830"/>
                      <a:pt x="199327" y="104784"/>
                    </a:cubicBezTo>
                    <a:cubicBezTo>
                      <a:pt x="199327" y="156739"/>
                      <a:pt x="157201" y="198849"/>
                      <a:pt x="105227" y="198849"/>
                    </a:cubicBezTo>
                    <a:moveTo>
                      <a:pt x="105227" y="875"/>
                    </a:moveTo>
                    <a:cubicBezTo>
                      <a:pt x="47782" y="875"/>
                      <a:pt x="1826" y="47361"/>
                      <a:pt x="1826" y="104784"/>
                    </a:cubicBezTo>
                    <a:cubicBezTo>
                      <a:pt x="1826" y="162208"/>
                      <a:pt x="48329" y="208146"/>
                      <a:pt x="105227" y="208146"/>
                    </a:cubicBezTo>
                    <a:cubicBezTo>
                      <a:pt x="162672" y="208146"/>
                      <a:pt x="208628" y="161661"/>
                      <a:pt x="208628" y="104784"/>
                    </a:cubicBezTo>
                    <a:cubicBezTo>
                      <a:pt x="208628" y="47361"/>
                      <a:pt x="162672" y="875"/>
                      <a:pt x="105227" y="875"/>
                    </a:cubicBezTo>
                  </a:path>
                </a:pathLst>
              </a:custGeom>
              <a:solidFill>
                <a:schemeClr val="accent2"/>
              </a:solidFill>
              <a:ln w="10941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24" name="Freeform 286">
                <a:extLst>
                  <a:ext uri="{FF2B5EF4-FFF2-40B4-BE49-F238E27FC236}">
                    <a16:creationId xmlns:a16="http://schemas.microsoft.com/office/drawing/2014/main" id="{06FECEEC-E63C-4F46-8022-6E505CD45581}"/>
                  </a:ext>
                </a:extLst>
              </p:cNvPr>
              <p:cNvSpPr/>
              <p:nvPr/>
            </p:nvSpPr>
            <p:spPr>
              <a:xfrm>
                <a:off x="483679" y="3435251"/>
                <a:ext cx="94100" cy="94065"/>
              </a:xfrm>
              <a:custGeom>
                <a:avLst/>
                <a:gdLst>
                  <a:gd name="connsiteX0" fmla="*/ 30275 w 94100"/>
                  <a:gd name="connsiteY0" fmla="*/ 875 h 94065"/>
                  <a:gd name="connsiteX1" fmla="*/ 1826 w 94100"/>
                  <a:gd name="connsiteY1" fmla="*/ 29313 h 94065"/>
                  <a:gd name="connsiteX2" fmla="*/ 68025 w 94100"/>
                  <a:gd name="connsiteY2" fmla="*/ 94940 h 94065"/>
                  <a:gd name="connsiteX3" fmla="*/ 95926 w 94100"/>
                  <a:gd name="connsiteY3" fmla="*/ 67049 h 94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100" h="94065">
                    <a:moveTo>
                      <a:pt x="30275" y="875"/>
                    </a:moveTo>
                    <a:lnTo>
                      <a:pt x="1826" y="29313"/>
                    </a:lnTo>
                    <a:lnTo>
                      <a:pt x="68025" y="94940"/>
                    </a:lnTo>
                    <a:lnTo>
                      <a:pt x="95926" y="67049"/>
                    </a:lnTo>
                    <a:close/>
                  </a:path>
                </a:pathLst>
              </a:custGeom>
              <a:solidFill>
                <a:schemeClr val="accent2"/>
              </a:solidFill>
              <a:ln w="5470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25" name="Freeform 287">
                <a:extLst>
                  <a:ext uri="{FF2B5EF4-FFF2-40B4-BE49-F238E27FC236}">
                    <a16:creationId xmlns:a16="http://schemas.microsoft.com/office/drawing/2014/main" id="{FFD4C140-80FD-494A-B4B2-5413AE1362DB}"/>
                  </a:ext>
                </a:extLst>
              </p:cNvPr>
              <p:cNvSpPr/>
              <p:nvPr/>
            </p:nvSpPr>
            <p:spPr>
              <a:xfrm>
                <a:off x="474379" y="3425954"/>
                <a:ext cx="18601" cy="18594"/>
              </a:xfrm>
              <a:custGeom>
                <a:avLst/>
                <a:gdLst>
                  <a:gd name="connsiteX0" fmla="*/ 20428 w 18601"/>
                  <a:gd name="connsiteY0" fmla="*/ 10172 h 18594"/>
                  <a:gd name="connsiteX1" fmla="*/ 11127 w 18601"/>
                  <a:gd name="connsiteY1" fmla="*/ 875 h 18594"/>
                  <a:gd name="connsiteX2" fmla="*/ 1826 w 18601"/>
                  <a:gd name="connsiteY2" fmla="*/ 10172 h 18594"/>
                  <a:gd name="connsiteX3" fmla="*/ 11127 w 18601"/>
                  <a:gd name="connsiteY3" fmla="*/ 19469 h 18594"/>
                  <a:gd name="connsiteX4" fmla="*/ 20428 w 18601"/>
                  <a:gd name="connsiteY4" fmla="*/ 10172 h 18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01" h="18594">
                    <a:moveTo>
                      <a:pt x="20428" y="10172"/>
                    </a:moveTo>
                    <a:cubicBezTo>
                      <a:pt x="20428" y="4703"/>
                      <a:pt x="16051" y="875"/>
                      <a:pt x="11127" y="875"/>
                    </a:cubicBezTo>
                    <a:cubicBezTo>
                      <a:pt x="6203" y="875"/>
                      <a:pt x="1826" y="5250"/>
                      <a:pt x="1826" y="10172"/>
                    </a:cubicBezTo>
                    <a:cubicBezTo>
                      <a:pt x="1826" y="15641"/>
                      <a:pt x="6203" y="19469"/>
                      <a:pt x="11127" y="19469"/>
                    </a:cubicBezTo>
                    <a:cubicBezTo>
                      <a:pt x="16051" y="19469"/>
                      <a:pt x="20428" y="15094"/>
                      <a:pt x="20428" y="10172"/>
                    </a:cubicBezTo>
                  </a:path>
                </a:pathLst>
              </a:custGeom>
              <a:solidFill>
                <a:schemeClr val="accent2"/>
              </a:solidFill>
              <a:ln w="547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26" name="Freeform 288">
                <a:extLst>
                  <a:ext uri="{FF2B5EF4-FFF2-40B4-BE49-F238E27FC236}">
                    <a16:creationId xmlns:a16="http://schemas.microsoft.com/office/drawing/2014/main" id="{070A6B2A-6DE9-194C-95C0-3DBC61A1D9B5}"/>
                  </a:ext>
                </a:extLst>
              </p:cNvPr>
              <p:cNvSpPr/>
              <p:nvPr/>
            </p:nvSpPr>
            <p:spPr>
              <a:xfrm>
                <a:off x="360577" y="3220870"/>
                <a:ext cx="137874" cy="137816"/>
              </a:xfrm>
              <a:custGeom>
                <a:avLst/>
                <a:gdLst>
                  <a:gd name="connsiteX0" fmla="*/ 70767 w 137874"/>
                  <a:gd name="connsiteY0" fmla="*/ 875 h 137816"/>
                  <a:gd name="connsiteX1" fmla="*/ 139701 w 137874"/>
                  <a:gd name="connsiteY1" fmla="*/ 69783 h 137816"/>
                  <a:gd name="connsiteX2" fmla="*/ 70767 w 137874"/>
                  <a:gd name="connsiteY2" fmla="*/ 138691 h 137816"/>
                  <a:gd name="connsiteX3" fmla="*/ 1833 w 137874"/>
                  <a:gd name="connsiteY3" fmla="*/ 69783 h 137816"/>
                  <a:gd name="connsiteX4" fmla="*/ 70767 w 137874"/>
                  <a:gd name="connsiteY4" fmla="*/ 875 h 137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7874" h="137816">
                    <a:moveTo>
                      <a:pt x="70767" y="875"/>
                    </a:moveTo>
                    <a:cubicBezTo>
                      <a:pt x="109064" y="875"/>
                      <a:pt x="139701" y="32048"/>
                      <a:pt x="139701" y="69783"/>
                    </a:cubicBezTo>
                    <a:cubicBezTo>
                      <a:pt x="139701" y="108065"/>
                      <a:pt x="108517" y="138691"/>
                      <a:pt x="70767" y="138691"/>
                    </a:cubicBezTo>
                    <a:cubicBezTo>
                      <a:pt x="32471" y="138691"/>
                      <a:pt x="1833" y="107519"/>
                      <a:pt x="1833" y="69783"/>
                    </a:cubicBezTo>
                    <a:cubicBezTo>
                      <a:pt x="1286" y="32048"/>
                      <a:pt x="32471" y="875"/>
                      <a:pt x="70767" y="875"/>
                    </a:cubicBezTo>
                  </a:path>
                </a:pathLst>
              </a:custGeom>
              <a:solidFill>
                <a:srgbClr val="FEFEFE"/>
              </a:solidFill>
              <a:ln w="547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27" name="Freeform 289">
                <a:extLst>
                  <a:ext uri="{FF2B5EF4-FFF2-40B4-BE49-F238E27FC236}">
                    <a16:creationId xmlns:a16="http://schemas.microsoft.com/office/drawing/2014/main" id="{99733850-B2CE-9347-A387-CDEBC533E572}"/>
                  </a:ext>
                </a:extLst>
              </p:cNvPr>
              <p:cNvSpPr/>
              <p:nvPr/>
            </p:nvSpPr>
            <p:spPr>
              <a:xfrm>
                <a:off x="360577" y="3220870"/>
                <a:ext cx="137874" cy="137816"/>
              </a:xfrm>
              <a:custGeom>
                <a:avLst/>
                <a:gdLst>
                  <a:gd name="connsiteX0" fmla="*/ 70767 w 137874"/>
                  <a:gd name="connsiteY0" fmla="*/ 875 h 137816"/>
                  <a:gd name="connsiteX1" fmla="*/ 139701 w 137874"/>
                  <a:gd name="connsiteY1" fmla="*/ 69783 h 137816"/>
                  <a:gd name="connsiteX2" fmla="*/ 70767 w 137874"/>
                  <a:gd name="connsiteY2" fmla="*/ 138691 h 137816"/>
                  <a:gd name="connsiteX3" fmla="*/ 1833 w 137874"/>
                  <a:gd name="connsiteY3" fmla="*/ 69783 h 137816"/>
                  <a:gd name="connsiteX4" fmla="*/ 70767 w 137874"/>
                  <a:gd name="connsiteY4" fmla="*/ 875 h 137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7874" h="137816">
                    <a:moveTo>
                      <a:pt x="70767" y="875"/>
                    </a:moveTo>
                    <a:cubicBezTo>
                      <a:pt x="109064" y="875"/>
                      <a:pt x="139701" y="32048"/>
                      <a:pt x="139701" y="69783"/>
                    </a:cubicBezTo>
                    <a:cubicBezTo>
                      <a:pt x="139701" y="108065"/>
                      <a:pt x="108517" y="138691"/>
                      <a:pt x="70767" y="138691"/>
                    </a:cubicBezTo>
                    <a:cubicBezTo>
                      <a:pt x="32471" y="138691"/>
                      <a:pt x="1833" y="107519"/>
                      <a:pt x="1833" y="69783"/>
                    </a:cubicBezTo>
                    <a:cubicBezTo>
                      <a:pt x="1286" y="32048"/>
                      <a:pt x="32471" y="875"/>
                      <a:pt x="70767" y="875"/>
                    </a:cubicBezTo>
                    <a:close/>
                  </a:path>
                </a:pathLst>
              </a:custGeom>
              <a:noFill/>
              <a:ln w="12541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28" name="Freeform 290">
                <a:extLst>
                  <a:ext uri="{FF2B5EF4-FFF2-40B4-BE49-F238E27FC236}">
                    <a16:creationId xmlns:a16="http://schemas.microsoft.com/office/drawing/2014/main" id="{699F9344-E00A-E844-A8F5-4A38A26C6C8F}"/>
                  </a:ext>
                </a:extLst>
              </p:cNvPr>
              <p:cNvSpPr/>
              <p:nvPr/>
            </p:nvSpPr>
            <p:spPr>
              <a:xfrm>
                <a:off x="392176" y="3257297"/>
                <a:ext cx="85929" cy="70900"/>
              </a:xfrm>
              <a:custGeom>
                <a:avLst/>
                <a:gdLst>
                  <a:gd name="connsiteX0" fmla="*/ 27132 w 85929"/>
                  <a:gd name="connsiteY0" fmla="*/ 61248 h 70900"/>
                  <a:gd name="connsiteX1" fmla="*/ 35886 w 85929"/>
                  <a:gd name="connsiteY1" fmla="*/ 51404 h 70900"/>
                  <a:gd name="connsiteX2" fmla="*/ 79106 w 85929"/>
                  <a:gd name="connsiteY2" fmla="*/ 3825 h 70900"/>
                  <a:gd name="connsiteX3" fmla="*/ 80200 w 85929"/>
                  <a:gd name="connsiteY3" fmla="*/ 2184 h 70900"/>
                  <a:gd name="connsiteX4" fmla="*/ 86218 w 85929"/>
                  <a:gd name="connsiteY4" fmla="*/ 1637 h 70900"/>
                  <a:gd name="connsiteX5" fmla="*/ 86765 w 85929"/>
                  <a:gd name="connsiteY5" fmla="*/ 7653 h 70900"/>
                  <a:gd name="connsiteX6" fmla="*/ 80747 w 85929"/>
                  <a:gd name="connsiteY6" fmla="*/ 14216 h 70900"/>
                  <a:gd name="connsiteX7" fmla="*/ 31509 w 85929"/>
                  <a:gd name="connsiteY7" fmla="*/ 68905 h 70900"/>
                  <a:gd name="connsiteX8" fmla="*/ 22755 w 85929"/>
                  <a:gd name="connsiteY8" fmla="*/ 68905 h 70900"/>
                  <a:gd name="connsiteX9" fmla="*/ 3607 w 85929"/>
                  <a:gd name="connsiteY9" fmla="*/ 45935 h 70900"/>
                  <a:gd name="connsiteX10" fmla="*/ 1966 w 85929"/>
                  <a:gd name="connsiteY10" fmla="*/ 42654 h 70900"/>
                  <a:gd name="connsiteX11" fmla="*/ 4701 w 85929"/>
                  <a:gd name="connsiteY11" fmla="*/ 38279 h 70900"/>
                  <a:gd name="connsiteX12" fmla="*/ 9625 w 85929"/>
                  <a:gd name="connsiteY12" fmla="*/ 39920 h 70900"/>
                  <a:gd name="connsiteX13" fmla="*/ 19473 w 85929"/>
                  <a:gd name="connsiteY13" fmla="*/ 51404 h 70900"/>
                  <a:gd name="connsiteX14" fmla="*/ 27132 w 85929"/>
                  <a:gd name="connsiteY14" fmla="*/ 61248 h 70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5929" h="70900">
                    <a:moveTo>
                      <a:pt x="27132" y="61248"/>
                    </a:moveTo>
                    <a:cubicBezTo>
                      <a:pt x="30415" y="57967"/>
                      <a:pt x="33150" y="54686"/>
                      <a:pt x="35886" y="51404"/>
                    </a:cubicBezTo>
                    <a:cubicBezTo>
                      <a:pt x="50110" y="35544"/>
                      <a:pt x="64881" y="19685"/>
                      <a:pt x="79106" y="3825"/>
                    </a:cubicBezTo>
                    <a:cubicBezTo>
                      <a:pt x="79653" y="3278"/>
                      <a:pt x="79653" y="2731"/>
                      <a:pt x="80200" y="2184"/>
                    </a:cubicBezTo>
                    <a:cubicBezTo>
                      <a:pt x="81841" y="544"/>
                      <a:pt x="84577" y="544"/>
                      <a:pt x="86218" y="1637"/>
                    </a:cubicBezTo>
                    <a:cubicBezTo>
                      <a:pt x="87859" y="3278"/>
                      <a:pt x="88406" y="5466"/>
                      <a:pt x="86765" y="7653"/>
                    </a:cubicBezTo>
                    <a:cubicBezTo>
                      <a:pt x="85124" y="9841"/>
                      <a:pt x="82936" y="12028"/>
                      <a:pt x="80747" y="14216"/>
                    </a:cubicBezTo>
                    <a:cubicBezTo>
                      <a:pt x="64334" y="32263"/>
                      <a:pt x="47922" y="50311"/>
                      <a:pt x="31509" y="68905"/>
                    </a:cubicBezTo>
                    <a:cubicBezTo>
                      <a:pt x="28226" y="72733"/>
                      <a:pt x="26038" y="72733"/>
                      <a:pt x="22755" y="68905"/>
                    </a:cubicBezTo>
                    <a:cubicBezTo>
                      <a:pt x="16190" y="61248"/>
                      <a:pt x="9625" y="53592"/>
                      <a:pt x="3607" y="45935"/>
                    </a:cubicBezTo>
                    <a:cubicBezTo>
                      <a:pt x="2513" y="44842"/>
                      <a:pt x="1966" y="43748"/>
                      <a:pt x="1966" y="42654"/>
                    </a:cubicBezTo>
                    <a:cubicBezTo>
                      <a:pt x="1419" y="40466"/>
                      <a:pt x="2513" y="39373"/>
                      <a:pt x="4701" y="38279"/>
                    </a:cubicBezTo>
                    <a:cubicBezTo>
                      <a:pt x="6890" y="37185"/>
                      <a:pt x="8531" y="38279"/>
                      <a:pt x="9625" y="39920"/>
                    </a:cubicBezTo>
                    <a:cubicBezTo>
                      <a:pt x="12908" y="43748"/>
                      <a:pt x="16190" y="47576"/>
                      <a:pt x="19473" y="51404"/>
                    </a:cubicBezTo>
                    <a:cubicBezTo>
                      <a:pt x="21661" y="54139"/>
                      <a:pt x="24397" y="57420"/>
                      <a:pt x="27132" y="61248"/>
                    </a:cubicBezTo>
                  </a:path>
                </a:pathLst>
              </a:custGeom>
              <a:solidFill>
                <a:schemeClr val="accent6"/>
              </a:solidFill>
              <a:ln w="5470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109D313C-CBF2-42EE-8B5C-26068043D985}"/>
                </a:ext>
              </a:extLst>
            </p:cNvPr>
            <p:cNvGrpSpPr/>
            <p:nvPr/>
          </p:nvGrpSpPr>
          <p:grpSpPr>
            <a:xfrm>
              <a:off x="2441051" y="4308353"/>
              <a:ext cx="298083" cy="328668"/>
              <a:chOff x="2441855" y="4596939"/>
              <a:chExt cx="260371" cy="267219"/>
            </a:xfrm>
          </p:grpSpPr>
          <p:sp>
            <p:nvSpPr>
              <p:cNvPr id="218" name="Freeform 296">
                <a:extLst>
                  <a:ext uri="{FF2B5EF4-FFF2-40B4-BE49-F238E27FC236}">
                    <a16:creationId xmlns:a16="http://schemas.microsoft.com/office/drawing/2014/main" id="{BBF407FC-E099-F146-823F-BD35251290EF}"/>
                  </a:ext>
                </a:extLst>
              </p:cNvPr>
              <p:cNvSpPr/>
              <p:nvPr/>
            </p:nvSpPr>
            <p:spPr>
              <a:xfrm>
                <a:off x="2441855" y="4596939"/>
                <a:ext cx="260371" cy="267219"/>
              </a:xfrm>
              <a:custGeom>
                <a:avLst/>
                <a:gdLst>
                  <a:gd name="connsiteX0" fmla="*/ 249741 w 260371"/>
                  <a:gd name="connsiteY0" fmla="*/ 73922 h 267219"/>
                  <a:gd name="connsiteX1" fmla="*/ 239346 w 260371"/>
                  <a:gd name="connsiteY1" fmla="*/ 44390 h 267219"/>
                  <a:gd name="connsiteX2" fmla="*/ 227310 w 260371"/>
                  <a:gd name="connsiteY2" fmla="*/ 24702 h 267219"/>
                  <a:gd name="connsiteX3" fmla="*/ 139775 w 260371"/>
                  <a:gd name="connsiteY3" fmla="*/ 2280 h 267219"/>
                  <a:gd name="connsiteX4" fmla="*/ 122815 w 260371"/>
                  <a:gd name="connsiteY4" fmla="*/ 2826 h 267219"/>
                  <a:gd name="connsiteX5" fmla="*/ 38563 w 260371"/>
                  <a:gd name="connsiteY5" fmla="*/ 24702 h 267219"/>
                  <a:gd name="connsiteX6" fmla="*/ 24886 w 260371"/>
                  <a:gd name="connsiteY6" fmla="*/ 45484 h 267219"/>
                  <a:gd name="connsiteX7" fmla="*/ 15038 w 260371"/>
                  <a:gd name="connsiteY7" fmla="*/ 73922 h 267219"/>
                  <a:gd name="connsiteX8" fmla="*/ 3549 w 260371"/>
                  <a:gd name="connsiteY8" fmla="*/ 101267 h 267219"/>
                  <a:gd name="connsiteX9" fmla="*/ 52240 w 260371"/>
                  <a:gd name="connsiteY9" fmla="*/ 204082 h 267219"/>
                  <a:gd name="connsiteX10" fmla="*/ 53335 w 260371"/>
                  <a:gd name="connsiteY10" fmla="*/ 205723 h 267219"/>
                  <a:gd name="connsiteX11" fmla="*/ 59900 w 260371"/>
                  <a:gd name="connsiteY11" fmla="*/ 214473 h 267219"/>
                  <a:gd name="connsiteX12" fmla="*/ 70842 w 260371"/>
                  <a:gd name="connsiteY12" fmla="*/ 229786 h 267219"/>
                  <a:gd name="connsiteX13" fmla="*/ 71389 w 260371"/>
                  <a:gd name="connsiteY13" fmla="*/ 229239 h 267219"/>
                  <a:gd name="connsiteX14" fmla="*/ 76313 w 260371"/>
                  <a:gd name="connsiteY14" fmla="*/ 234708 h 267219"/>
                  <a:gd name="connsiteX15" fmla="*/ 133210 w 260371"/>
                  <a:gd name="connsiteY15" fmla="*/ 268068 h 267219"/>
                  <a:gd name="connsiteX16" fmla="*/ 214180 w 260371"/>
                  <a:gd name="connsiteY16" fmla="*/ 202988 h 267219"/>
                  <a:gd name="connsiteX17" fmla="*/ 220198 w 260371"/>
                  <a:gd name="connsiteY17" fmla="*/ 194785 h 267219"/>
                  <a:gd name="connsiteX18" fmla="*/ 222386 w 260371"/>
                  <a:gd name="connsiteY18" fmla="*/ 190957 h 267219"/>
                  <a:gd name="connsiteX19" fmla="*/ 228952 w 260371"/>
                  <a:gd name="connsiteY19" fmla="*/ 180019 h 267219"/>
                  <a:gd name="connsiteX20" fmla="*/ 230046 w 260371"/>
                  <a:gd name="connsiteY20" fmla="*/ 177831 h 267219"/>
                  <a:gd name="connsiteX21" fmla="*/ 238799 w 260371"/>
                  <a:gd name="connsiteY21" fmla="*/ 160878 h 267219"/>
                  <a:gd name="connsiteX22" fmla="*/ 260683 w 260371"/>
                  <a:gd name="connsiteY22" fmla="*/ 100173 h 267219"/>
                  <a:gd name="connsiteX23" fmla="*/ 249741 w 260371"/>
                  <a:gd name="connsiteY23" fmla="*/ 73922 h 267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60371" h="267219">
                    <a:moveTo>
                      <a:pt x="249741" y="73922"/>
                    </a:moveTo>
                    <a:cubicBezTo>
                      <a:pt x="233875" y="65719"/>
                      <a:pt x="232234" y="60250"/>
                      <a:pt x="239346" y="44390"/>
                    </a:cubicBezTo>
                    <a:cubicBezTo>
                      <a:pt x="244270" y="33452"/>
                      <a:pt x="239346" y="24155"/>
                      <a:pt x="227310" y="24702"/>
                    </a:cubicBezTo>
                    <a:cubicBezTo>
                      <a:pt x="196126" y="25249"/>
                      <a:pt x="167130" y="17046"/>
                      <a:pt x="139775" y="2280"/>
                    </a:cubicBezTo>
                    <a:cubicBezTo>
                      <a:pt x="135399" y="92"/>
                      <a:pt x="127192" y="639"/>
                      <a:pt x="122815" y="2826"/>
                    </a:cubicBezTo>
                    <a:cubicBezTo>
                      <a:pt x="96555" y="17593"/>
                      <a:pt x="68653" y="25249"/>
                      <a:pt x="38563" y="24702"/>
                    </a:cubicBezTo>
                    <a:cubicBezTo>
                      <a:pt x="24886" y="24702"/>
                      <a:pt x="19962" y="32905"/>
                      <a:pt x="24886" y="45484"/>
                    </a:cubicBezTo>
                    <a:cubicBezTo>
                      <a:pt x="30904" y="60250"/>
                      <a:pt x="28715" y="66266"/>
                      <a:pt x="15038" y="73922"/>
                    </a:cubicBezTo>
                    <a:cubicBezTo>
                      <a:pt x="1361" y="81032"/>
                      <a:pt x="-281" y="85954"/>
                      <a:pt x="3549" y="101267"/>
                    </a:cubicBezTo>
                    <a:cubicBezTo>
                      <a:pt x="13397" y="139002"/>
                      <a:pt x="28168" y="174003"/>
                      <a:pt x="52240" y="204082"/>
                    </a:cubicBezTo>
                    <a:cubicBezTo>
                      <a:pt x="52788" y="204629"/>
                      <a:pt x="52788" y="205176"/>
                      <a:pt x="53335" y="205723"/>
                    </a:cubicBezTo>
                    <a:cubicBezTo>
                      <a:pt x="54976" y="207910"/>
                      <a:pt x="56070" y="209004"/>
                      <a:pt x="59900" y="214473"/>
                    </a:cubicBezTo>
                    <a:cubicBezTo>
                      <a:pt x="62635" y="217754"/>
                      <a:pt x="66465" y="223223"/>
                      <a:pt x="70842" y="229786"/>
                    </a:cubicBezTo>
                    <a:cubicBezTo>
                      <a:pt x="70842" y="229786"/>
                      <a:pt x="70842" y="229239"/>
                      <a:pt x="71389" y="229239"/>
                    </a:cubicBezTo>
                    <a:cubicBezTo>
                      <a:pt x="72483" y="230880"/>
                      <a:pt x="74124" y="233067"/>
                      <a:pt x="76313" y="234708"/>
                    </a:cubicBezTo>
                    <a:cubicBezTo>
                      <a:pt x="79595" y="237442"/>
                      <a:pt x="104761" y="264787"/>
                      <a:pt x="133210" y="268068"/>
                    </a:cubicBezTo>
                    <a:cubicBezTo>
                      <a:pt x="133210" y="268068"/>
                      <a:pt x="166583" y="271896"/>
                      <a:pt x="214180" y="202988"/>
                    </a:cubicBezTo>
                    <a:cubicBezTo>
                      <a:pt x="218557" y="198613"/>
                      <a:pt x="221839" y="194785"/>
                      <a:pt x="220198" y="194785"/>
                    </a:cubicBezTo>
                    <a:cubicBezTo>
                      <a:pt x="220745" y="193691"/>
                      <a:pt x="221839" y="192050"/>
                      <a:pt x="222386" y="190957"/>
                    </a:cubicBezTo>
                    <a:cubicBezTo>
                      <a:pt x="224575" y="187675"/>
                      <a:pt x="226763" y="183847"/>
                      <a:pt x="228952" y="180019"/>
                    </a:cubicBezTo>
                    <a:cubicBezTo>
                      <a:pt x="228952" y="179472"/>
                      <a:pt x="230046" y="178378"/>
                      <a:pt x="230046" y="177831"/>
                    </a:cubicBezTo>
                    <a:cubicBezTo>
                      <a:pt x="233328" y="172362"/>
                      <a:pt x="236064" y="166893"/>
                      <a:pt x="238799" y="160878"/>
                    </a:cubicBezTo>
                    <a:cubicBezTo>
                      <a:pt x="247006" y="141190"/>
                      <a:pt x="253571" y="120408"/>
                      <a:pt x="260683" y="100173"/>
                    </a:cubicBezTo>
                    <a:cubicBezTo>
                      <a:pt x="264513" y="87594"/>
                      <a:pt x="260683" y="79391"/>
                      <a:pt x="249741" y="73922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6">
                    <a:lumMod val="50000"/>
                  </a:schemeClr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19" name="Freeform 297">
                <a:extLst>
                  <a:ext uri="{FF2B5EF4-FFF2-40B4-BE49-F238E27FC236}">
                    <a16:creationId xmlns:a16="http://schemas.microsoft.com/office/drawing/2014/main" id="{FF4D80D6-C7EB-804A-B339-DA17F3A6B4A8}"/>
                  </a:ext>
                </a:extLst>
              </p:cNvPr>
              <p:cNvSpPr/>
              <p:nvPr/>
            </p:nvSpPr>
            <p:spPr>
              <a:xfrm>
                <a:off x="2498981" y="4659833"/>
                <a:ext cx="150920" cy="140326"/>
              </a:xfrm>
              <a:custGeom>
                <a:avLst/>
                <a:gdLst>
                  <a:gd name="connsiteX0" fmla="*/ 47636 w 150920"/>
                  <a:gd name="connsiteY0" fmla="*/ 88687 h 140326"/>
                  <a:gd name="connsiteX1" fmla="*/ 119852 w 150920"/>
                  <a:gd name="connsiteY1" fmla="*/ 14310 h 140326"/>
                  <a:gd name="connsiteX2" fmla="*/ 142283 w 150920"/>
                  <a:gd name="connsiteY2" fmla="*/ 1185 h 140326"/>
                  <a:gd name="connsiteX3" fmla="*/ 152677 w 150920"/>
                  <a:gd name="connsiteY3" fmla="*/ 3373 h 140326"/>
                  <a:gd name="connsiteX4" fmla="*/ 149395 w 150920"/>
                  <a:gd name="connsiteY4" fmla="*/ 12123 h 140326"/>
                  <a:gd name="connsiteX5" fmla="*/ 69519 w 150920"/>
                  <a:gd name="connsiteY5" fmla="*/ 122048 h 140326"/>
                  <a:gd name="connsiteX6" fmla="*/ 47088 w 150920"/>
                  <a:gd name="connsiteY6" fmla="*/ 141189 h 140326"/>
                  <a:gd name="connsiteX7" fmla="*/ 24111 w 150920"/>
                  <a:gd name="connsiteY7" fmla="*/ 124235 h 140326"/>
                  <a:gd name="connsiteX8" fmla="*/ 5509 w 150920"/>
                  <a:gd name="connsiteY8" fmla="*/ 94156 h 140326"/>
                  <a:gd name="connsiteX9" fmla="*/ 10980 w 150920"/>
                  <a:gd name="connsiteY9" fmla="*/ 65718 h 140326"/>
                  <a:gd name="connsiteX10" fmla="*/ 38882 w 150920"/>
                  <a:gd name="connsiteY10" fmla="*/ 73921 h 140326"/>
                  <a:gd name="connsiteX11" fmla="*/ 47636 w 150920"/>
                  <a:gd name="connsiteY11" fmla="*/ 88687 h 140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920" h="140326">
                    <a:moveTo>
                      <a:pt x="47636" y="88687"/>
                    </a:moveTo>
                    <a:cubicBezTo>
                      <a:pt x="72255" y="63531"/>
                      <a:pt x="95233" y="38374"/>
                      <a:pt x="119852" y="14310"/>
                    </a:cubicBezTo>
                    <a:cubicBezTo>
                      <a:pt x="125870" y="8295"/>
                      <a:pt x="134623" y="5013"/>
                      <a:pt x="142283" y="1185"/>
                    </a:cubicBezTo>
                    <a:cubicBezTo>
                      <a:pt x="145018" y="91"/>
                      <a:pt x="148848" y="2279"/>
                      <a:pt x="152677" y="3373"/>
                    </a:cubicBezTo>
                    <a:cubicBezTo>
                      <a:pt x="151583" y="6107"/>
                      <a:pt x="151583" y="10482"/>
                      <a:pt x="149395" y="12123"/>
                    </a:cubicBezTo>
                    <a:cubicBezTo>
                      <a:pt x="112193" y="41108"/>
                      <a:pt x="90856" y="81578"/>
                      <a:pt x="69519" y="122048"/>
                    </a:cubicBezTo>
                    <a:cubicBezTo>
                      <a:pt x="64595" y="131892"/>
                      <a:pt x="59672" y="140642"/>
                      <a:pt x="47088" y="141189"/>
                    </a:cubicBezTo>
                    <a:cubicBezTo>
                      <a:pt x="35052" y="141736"/>
                      <a:pt x="29581" y="132986"/>
                      <a:pt x="24111" y="124235"/>
                    </a:cubicBezTo>
                    <a:cubicBezTo>
                      <a:pt x="18093" y="114391"/>
                      <a:pt x="11527" y="104547"/>
                      <a:pt x="5509" y="94156"/>
                    </a:cubicBezTo>
                    <a:cubicBezTo>
                      <a:pt x="-1056" y="82672"/>
                      <a:pt x="1133" y="71734"/>
                      <a:pt x="10980" y="65718"/>
                    </a:cubicBezTo>
                    <a:cubicBezTo>
                      <a:pt x="20828" y="59702"/>
                      <a:pt x="31223" y="62437"/>
                      <a:pt x="38882" y="73921"/>
                    </a:cubicBezTo>
                    <a:cubicBezTo>
                      <a:pt x="42165" y="79390"/>
                      <a:pt x="45447" y="85406"/>
                      <a:pt x="47636" y="88687"/>
                    </a:cubicBez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 w="5470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81E9CECF-191B-4177-BE7A-EF085A41CC5B}"/>
                </a:ext>
              </a:extLst>
            </p:cNvPr>
            <p:cNvGrpSpPr/>
            <p:nvPr/>
          </p:nvGrpSpPr>
          <p:grpSpPr>
            <a:xfrm>
              <a:off x="4315484" y="4303191"/>
              <a:ext cx="423433" cy="476668"/>
              <a:chOff x="185219" y="3411520"/>
              <a:chExt cx="1207882" cy="1315572"/>
            </a:xfrm>
          </p:grpSpPr>
          <p:sp>
            <p:nvSpPr>
              <p:cNvPr id="208" name="Freeform 305">
                <a:extLst>
                  <a:ext uri="{FF2B5EF4-FFF2-40B4-BE49-F238E27FC236}">
                    <a16:creationId xmlns:a16="http://schemas.microsoft.com/office/drawing/2014/main" id="{57697421-35D5-E64B-9765-5DF97CBE1C72}"/>
                  </a:ext>
                </a:extLst>
              </p:cNvPr>
              <p:cNvSpPr/>
              <p:nvPr/>
            </p:nvSpPr>
            <p:spPr>
              <a:xfrm>
                <a:off x="185219" y="3411520"/>
                <a:ext cx="801144" cy="1152404"/>
              </a:xfrm>
              <a:custGeom>
                <a:avLst/>
                <a:gdLst>
                  <a:gd name="connsiteX0" fmla="*/ 147196 w 174539"/>
                  <a:gd name="connsiteY0" fmla="*/ 175343 h 247194"/>
                  <a:gd name="connsiteX1" fmla="*/ 30665 w 174539"/>
                  <a:gd name="connsiteY1" fmla="*/ 175343 h 247194"/>
                  <a:gd name="connsiteX2" fmla="*/ 1669 w 174539"/>
                  <a:gd name="connsiteY2" fmla="*/ 204328 h 247194"/>
                  <a:gd name="connsiteX3" fmla="*/ 1669 w 174539"/>
                  <a:gd name="connsiteY3" fmla="*/ 248079 h 247194"/>
                  <a:gd name="connsiteX4" fmla="*/ 176192 w 174539"/>
                  <a:gd name="connsiteY4" fmla="*/ 248079 h 247194"/>
                  <a:gd name="connsiteX5" fmla="*/ 176192 w 174539"/>
                  <a:gd name="connsiteY5" fmla="*/ 204328 h 247194"/>
                  <a:gd name="connsiteX6" fmla="*/ 147196 w 174539"/>
                  <a:gd name="connsiteY6" fmla="*/ 175343 h 247194"/>
                  <a:gd name="connsiteX7" fmla="*/ 89204 w 174539"/>
                  <a:gd name="connsiteY7" fmla="*/ 15651 h 247194"/>
                  <a:gd name="connsiteX8" fmla="*/ 147196 w 174539"/>
                  <a:gd name="connsiteY8" fmla="*/ 73621 h 247194"/>
                  <a:gd name="connsiteX9" fmla="*/ 89204 w 174539"/>
                  <a:gd name="connsiteY9" fmla="*/ 131592 h 247194"/>
                  <a:gd name="connsiteX10" fmla="*/ 31212 w 174539"/>
                  <a:gd name="connsiteY10" fmla="*/ 73621 h 247194"/>
                  <a:gd name="connsiteX11" fmla="*/ 89204 w 174539"/>
                  <a:gd name="connsiteY11" fmla="*/ 15651 h 247194"/>
                  <a:gd name="connsiteX12" fmla="*/ 16441 w 174539"/>
                  <a:gd name="connsiteY12" fmla="*/ 73621 h 247194"/>
                  <a:gd name="connsiteX13" fmla="*/ 89204 w 174539"/>
                  <a:gd name="connsiteY13" fmla="*/ 146358 h 247194"/>
                  <a:gd name="connsiteX14" fmla="*/ 161967 w 174539"/>
                  <a:gd name="connsiteY14" fmla="*/ 73621 h 247194"/>
                  <a:gd name="connsiteX15" fmla="*/ 89204 w 174539"/>
                  <a:gd name="connsiteY15" fmla="*/ 885 h 247194"/>
                  <a:gd name="connsiteX16" fmla="*/ 16441 w 174539"/>
                  <a:gd name="connsiteY16" fmla="*/ 73621 h 247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74539" h="247194">
                    <a:moveTo>
                      <a:pt x="147196" y="175343"/>
                    </a:moveTo>
                    <a:lnTo>
                      <a:pt x="30665" y="175343"/>
                    </a:lnTo>
                    <a:cubicBezTo>
                      <a:pt x="14799" y="175343"/>
                      <a:pt x="1669" y="188468"/>
                      <a:pt x="1669" y="204328"/>
                    </a:cubicBezTo>
                    <a:lnTo>
                      <a:pt x="1669" y="248079"/>
                    </a:lnTo>
                    <a:lnTo>
                      <a:pt x="176192" y="248079"/>
                    </a:lnTo>
                    <a:lnTo>
                      <a:pt x="176192" y="204328"/>
                    </a:lnTo>
                    <a:cubicBezTo>
                      <a:pt x="176739" y="188468"/>
                      <a:pt x="163609" y="175343"/>
                      <a:pt x="147196" y="175343"/>
                    </a:cubicBezTo>
                    <a:moveTo>
                      <a:pt x="89204" y="15651"/>
                    </a:moveTo>
                    <a:cubicBezTo>
                      <a:pt x="121482" y="15651"/>
                      <a:pt x="147196" y="41902"/>
                      <a:pt x="147196" y="73621"/>
                    </a:cubicBezTo>
                    <a:cubicBezTo>
                      <a:pt x="147196" y="105888"/>
                      <a:pt x="120935" y="131592"/>
                      <a:pt x="89204" y="131592"/>
                    </a:cubicBezTo>
                    <a:cubicBezTo>
                      <a:pt x="57473" y="131592"/>
                      <a:pt x="31212" y="105341"/>
                      <a:pt x="31212" y="73621"/>
                    </a:cubicBezTo>
                    <a:cubicBezTo>
                      <a:pt x="31212" y="41355"/>
                      <a:pt x="56925" y="15651"/>
                      <a:pt x="89204" y="15651"/>
                    </a:cubicBezTo>
                    <a:moveTo>
                      <a:pt x="16441" y="73621"/>
                    </a:moveTo>
                    <a:cubicBezTo>
                      <a:pt x="16441" y="113544"/>
                      <a:pt x="49266" y="146358"/>
                      <a:pt x="89204" y="146358"/>
                    </a:cubicBezTo>
                    <a:cubicBezTo>
                      <a:pt x="129142" y="146358"/>
                      <a:pt x="161967" y="113544"/>
                      <a:pt x="161967" y="73621"/>
                    </a:cubicBezTo>
                    <a:cubicBezTo>
                      <a:pt x="161967" y="33698"/>
                      <a:pt x="129142" y="885"/>
                      <a:pt x="89204" y="885"/>
                    </a:cubicBezTo>
                    <a:cubicBezTo>
                      <a:pt x="49266" y="885"/>
                      <a:pt x="16441" y="33698"/>
                      <a:pt x="16441" y="73621"/>
                    </a:cubicBezTo>
                  </a:path>
                </a:pathLst>
              </a:custGeom>
              <a:solidFill>
                <a:srgbClr val="0070C0"/>
              </a:solidFill>
              <a:ln w="5470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09" name="Freeform 306">
                <a:extLst>
                  <a:ext uri="{FF2B5EF4-FFF2-40B4-BE49-F238E27FC236}">
                    <a16:creationId xmlns:a16="http://schemas.microsoft.com/office/drawing/2014/main" id="{9D740B3D-4329-F843-934B-584EDA54C016}"/>
                  </a:ext>
                </a:extLst>
              </p:cNvPr>
              <p:cNvSpPr/>
              <p:nvPr/>
            </p:nvSpPr>
            <p:spPr>
              <a:xfrm>
                <a:off x="632212" y="4186586"/>
                <a:ext cx="760889" cy="540506"/>
              </a:xfrm>
              <a:custGeom>
                <a:avLst/>
                <a:gdLst>
                  <a:gd name="connsiteX0" fmla="*/ 129689 w 165769"/>
                  <a:gd name="connsiteY0" fmla="*/ 116826 h 115940"/>
                  <a:gd name="connsiteX1" fmla="*/ 39418 w 165769"/>
                  <a:gd name="connsiteY1" fmla="*/ 116826 h 115940"/>
                  <a:gd name="connsiteX2" fmla="*/ 1669 w 165769"/>
                  <a:gd name="connsiteY2" fmla="*/ 79090 h 115940"/>
                  <a:gd name="connsiteX3" fmla="*/ 1669 w 165769"/>
                  <a:gd name="connsiteY3" fmla="*/ 38620 h 115940"/>
                  <a:gd name="connsiteX4" fmla="*/ 39418 w 165769"/>
                  <a:gd name="connsiteY4" fmla="*/ 885 h 115940"/>
                  <a:gd name="connsiteX5" fmla="*/ 129689 w 165769"/>
                  <a:gd name="connsiteY5" fmla="*/ 885 h 115940"/>
                  <a:gd name="connsiteX6" fmla="*/ 167438 w 165769"/>
                  <a:gd name="connsiteY6" fmla="*/ 38620 h 115940"/>
                  <a:gd name="connsiteX7" fmla="*/ 167438 w 165769"/>
                  <a:gd name="connsiteY7" fmla="*/ 79090 h 115940"/>
                  <a:gd name="connsiteX8" fmla="*/ 129689 w 165769"/>
                  <a:gd name="connsiteY8" fmla="*/ 116826 h 115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769" h="115940">
                    <a:moveTo>
                      <a:pt x="129689" y="116826"/>
                    </a:moveTo>
                    <a:lnTo>
                      <a:pt x="39418" y="116826"/>
                    </a:lnTo>
                    <a:cubicBezTo>
                      <a:pt x="18629" y="116826"/>
                      <a:pt x="1669" y="99872"/>
                      <a:pt x="1669" y="79090"/>
                    </a:cubicBezTo>
                    <a:lnTo>
                      <a:pt x="1669" y="38620"/>
                    </a:lnTo>
                    <a:cubicBezTo>
                      <a:pt x="1669" y="17839"/>
                      <a:pt x="18629" y="885"/>
                      <a:pt x="39418" y="885"/>
                    </a:cubicBezTo>
                    <a:lnTo>
                      <a:pt x="129689" y="885"/>
                    </a:lnTo>
                    <a:cubicBezTo>
                      <a:pt x="150478" y="885"/>
                      <a:pt x="167438" y="17839"/>
                      <a:pt x="167438" y="38620"/>
                    </a:cubicBezTo>
                    <a:lnTo>
                      <a:pt x="167438" y="79090"/>
                    </a:lnTo>
                    <a:cubicBezTo>
                      <a:pt x="166891" y="99872"/>
                      <a:pt x="149931" y="116826"/>
                      <a:pt x="129689" y="116826"/>
                    </a:cubicBezTo>
                  </a:path>
                </a:pathLst>
              </a:custGeom>
              <a:solidFill>
                <a:schemeClr val="bg1"/>
              </a:solidFill>
              <a:ln w="547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10" name="Freeform 307">
                <a:extLst>
                  <a:ext uri="{FF2B5EF4-FFF2-40B4-BE49-F238E27FC236}">
                    <a16:creationId xmlns:a16="http://schemas.microsoft.com/office/drawing/2014/main" id="{E2742A15-A722-DB43-A980-B72241C91357}"/>
                  </a:ext>
                </a:extLst>
              </p:cNvPr>
              <p:cNvSpPr/>
              <p:nvPr/>
            </p:nvSpPr>
            <p:spPr>
              <a:xfrm>
                <a:off x="727635" y="4099902"/>
                <a:ext cx="489681" cy="527760"/>
              </a:xfrm>
              <a:custGeom>
                <a:avLst/>
                <a:gdLst>
                  <a:gd name="connsiteX0" fmla="*/ 2216 w 106683"/>
                  <a:gd name="connsiteY0" fmla="*/ 57215 h 113206"/>
                  <a:gd name="connsiteX1" fmla="*/ 2216 w 106683"/>
                  <a:gd name="connsiteY1" fmla="*/ 24948 h 113206"/>
                  <a:gd name="connsiteX2" fmla="*/ 18629 w 106683"/>
                  <a:gd name="connsiteY2" fmla="*/ 1979 h 113206"/>
                  <a:gd name="connsiteX3" fmla="*/ 26835 w 106683"/>
                  <a:gd name="connsiteY3" fmla="*/ 885 h 113206"/>
                  <a:gd name="connsiteX4" fmla="*/ 58020 w 106683"/>
                  <a:gd name="connsiteY4" fmla="*/ 885 h 113206"/>
                  <a:gd name="connsiteX5" fmla="*/ 67320 w 106683"/>
                  <a:gd name="connsiteY5" fmla="*/ 7995 h 113206"/>
                  <a:gd name="connsiteX6" fmla="*/ 58567 w 106683"/>
                  <a:gd name="connsiteY6" fmla="*/ 18385 h 113206"/>
                  <a:gd name="connsiteX7" fmla="*/ 26835 w 106683"/>
                  <a:gd name="connsiteY7" fmla="*/ 18385 h 113206"/>
                  <a:gd name="connsiteX8" fmla="*/ 24647 w 106683"/>
                  <a:gd name="connsiteY8" fmla="*/ 18385 h 113206"/>
                  <a:gd name="connsiteX9" fmla="*/ 19723 w 106683"/>
                  <a:gd name="connsiteY9" fmla="*/ 23854 h 113206"/>
                  <a:gd name="connsiteX10" fmla="*/ 19723 w 106683"/>
                  <a:gd name="connsiteY10" fmla="*/ 24948 h 113206"/>
                  <a:gd name="connsiteX11" fmla="*/ 19723 w 106683"/>
                  <a:gd name="connsiteY11" fmla="*/ 88934 h 113206"/>
                  <a:gd name="connsiteX12" fmla="*/ 20270 w 106683"/>
                  <a:gd name="connsiteY12" fmla="*/ 91669 h 113206"/>
                  <a:gd name="connsiteX13" fmla="*/ 26288 w 106683"/>
                  <a:gd name="connsiteY13" fmla="*/ 96044 h 113206"/>
                  <a:gd name="connsiteX14" fmla="*/ 84280 w 106683"/>
                  <a:gd name="connsiteY14" fmla="*/ 96044 h 113206"/>
                  <a:gd name="connsiteX15" fmla="*/ 90845 w 106683"/>
                  <a:gd name="connsiteY15" fmla="*/ 89481 h 113206"/>
                  <a:gd name="connsiteX16" fmla="*/ 90845 w 106683"/>
                  <a:gd name="connsiteY16" fmla="*/ 55574 h 113206"/>
                  <a:gd name="connsiteX17" fmla="*/ 92486 w 106683"/>
                  <a:gd name="connsiteY17" fmla="*/ 49558 h 113206"/>
                  <a:gd name="connsiteX18" fmla="*/ 102334 w 106683"/>
                  <a:gd name="connsiteY18" fmla="*/ 46277 h 113206"/>
                  <a:gd name="connsiteX19" fmla="*/ 108352 w 106683"/>
                  <a:gd name="connsiteY19" fmla="*/ 54480 h 113206"/>
                  <a:gd name="connsiteX20" fmla="*/ 108352 w 106683"/>
                  <a:gd name="connsiteY20" fmla="*/ 91669 h 113206"/>
                  <a:gd name="connsiteX21" fmla="*/ 87563 w 106683"/>
                  <a:gd name="connsiteY21" fmla="*/ 114091 h 113206"/>
                  <a:gd name="connsiteX22" fmla="*/ 83186 w 106683"/>
                  <a:gd name="connsiteY22" fmla="*/ 114091 h 113206"/>
                  <a:gd name="connsiteX23" fmla="*/ 25741 w 106683"/>
                  <a:gd name="connsiteY23" fmla="*/ 114091 h 113206"/>
                  <a:gd name="connsiteX24" fmla="*/ 2216 w 106683"/>
                  <a:gd name="connsiteY24" fmla="*/ 94950 h 113206"/>
                  <a:gd name="connsiteX25" fmla="*/ 1669 w 106683"/>
                  <a:gd name="connsiteY25" fmla="*/ 88934 h 113206"/>
                  <a:gd name="connsiteX26" fmla="*/ 2216 w 106683"/>
                  <a:gd name="connsiteY26" fmla="*/ 57215 h 113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06683" h="113206">
                    <a:moveTo>
                      <a:pt x="2216" y="57215"/>
                    </a:moveTo>
                    <a:cubicBezTo>
                      <a:pt x="2216" y="46277"/>
                      <a:pt x="2216" y="35339"/>
                      <a:pt x="2216" y="24948"/>
                    </a:cubicBezTo>
                    <a:cubicBezTo>
                      <a:pt x="2216" y="14010"/>
                      <a:pt x="8781" y="5260"/>
                      <a:pt x="18629" y="1979"/>
                    </a:cubicBezTo>
                    <a:cubicBezTo>
                      <a:pt x="21364" y="1432"/>
                      <a:pt x="24100" y="885"/>
                      <a:pt x="26835" y="885"/>
                    </a:cubicBezTo>
                    <a:cubicBezTo>
                      <a:pt x="37230" y="885"/>
                      <a:pt x="47625" y="885"/>
                      <a:pt x="58020" y="885"/>
                    </a:cubicBezTo>
                    <a:cubicBezTo>
                      <a:pt x="62943" y="885"/>
                      <a:pt x="66226" y="3619"/>
                      <a:pt x="67320" y="7995"/>
                    </a:cubicBezTo>
                    <a:cubicBezTo>
                      <a:pt x="68414" y="13463"/>
                      <a:pt x="64585" y="18385"/>
                      <a:pt x="58567" y="18385"/>
                    </a:cubicBezTo>
                    <a:cubicBezTo>
                      <a:pt x="48172" y="18385"/>
                      <a:pt x="37777" y="18385"/>
                      <a:pt x="26835" y="18385"/>
                    </a:cubicBezTo>
                    <a:cubicBezTo>
                      <a:pt x="26288" y="18385"/>
                      <a:pt x="25741" y="18385"/>
                      <a:pt x="24647" y="18385"/>
                    </a:cubicBezTo>
                    <a:cubicBezTo>
                      <a:pt x="21911" y="18932"/>
                      <a:pt x="19723" y="21120"/>
                      <a:pt x="19723" y="23854"/>
                    </a:cubicBezTo>
                    <a:cubicBezTo>
                      <a:pt x="19723" y="24401"/>
                      <a:pt x="19723" y="24948"/>
                      <a:pt x="19723" y="24948"/>
                    </a:cubicBezTo>
                    <a:cubicBezTo>
                      <a:pt x="19723" y="46277"/>
                      <a:pt x="19723" y="67606"/>
                      <a:pt x="19723" y="88934"/>
                    </a:cubicBezTo>
                    <a:cubicBezTo>
                      <a:pt x="19723" y="90028"/>
                      <a:pt x="19723" y="90575"/>
                      <a:pt x="20270" y="91669"/>
                    </a:cubicBezTo>
                    <a:cubicBezTo>
                      <a:pt x="20817" y="94403"/>
                      <a:pt x="23553" y="96044"/>
                      <a:pt x="26288" y="96044"/>
                    </a:cubicBezTo>
                    <a:cubicBezTo>
                      <a:pt x="45436" y="96044"/>
                      <a:pt x="65132" y="96044"/>
                      <a:pt x="84280" y="96044"/>
                    </a:cubicBezTo>
                    <a:cubicBezTo>
                      <a:pt x="88110" y="96044"/>
                      <a:pt x="90845" y="93309"/>
                      <a:pt x="90845" y="89481"/>
                    </a:cubicBezTo>
                    <a:cubicBezTo>
                      <a:pt x="90845" y="77996"/>
                      <a:pt x="90845" y="67059"/>
                      <a:pt x="90845" y="55574"/>
                    </a:cubicBezTo>
                    <a:cubicBezTo>
                      <a:pt x="90845" y="53386"/>
                      <a:pt x="91392" y="51199"/>
                      <a:pt x="92486" y="49558"/>
                    </a:cubicBezTo>
                    <a:cubicBezTo>
                      <a:pt x="94675" y="46824"/>
                      <a:pt x="98504" y="45183"/>
                      <a:pt x="102334" y="46277"/>
                    </a:cubicBezTo>
                    <a:cubicBezTo>
                      <a:pt x="105617" y="47371"/>
                      <a:pt x="108352" y="50652"/>
                      <a:pt x="108352" y="54480"/>
                    </a:cubicBezTo>
                    <a:cubicBezTo>
                      <a:pt x="108352" y="67059"/>
                      <a:pt x="108352" y="79090"/>
                      <a:pt x="108352" y="91669"/>
                    </a:cubicBezTo>
                    <a:cubicBezTo>
                      <a:pt x="108352" y="102607"/>
                      <a:pt x="98504" y="112451"/>
                      <a:pt x="87563" y="114091"/>
                    </a:cubicBezTo>
                    <a:cubicBezTo>
                      <a:pt x="85921" y="114091"/>
                      <a:pt x="84827" y="114091"/>
                      <a:pt x="83186" y="114091"/>
                    </a:cubicBezTo>
                    <a:cubicBezTo>
                      <a:pt x="64038" y="114091"/>
                      <a:pt x="44889" y="114091"/>
                      <a:pt x="25741" y="114091"/>
                    </a:cubicBezTo>
                    <a:cubicBezTo>
                      <a:pt x="14252" y="114091"/>
                      <a:pt x="4404" y="106435"/>
                      <a:pt x="2216" y="94950"/>
                    </a:cubicBezTo>
                    <a:cubicBezTo>
                      <a:pt x="1669" y="92763"/>
                      <a:pt x="1669" y="91122"/>
                      <a:pt x="1669" y="88934"/>
                    </a:cubicBezTo>
                    <a:cubicBezTo>
                      <a:pt x="2216" y="78543"/>
                      <a:pt x="2216" y="68152"/>
                      <a:pt x="2216" y="57215"/>
                    </a:cubicBezTo>
                  </a:path>
                </a:pathLst>
              </a:custGeom>
              <a:solidFill>
                <a:srgbClr val="0070C0"/>
              </a:solidFill>
              <a:ln w="5470" cap="flat">
                <a:solidFill>
                  <a:schemeClr val="accent6">
                    <a:lumMod val="50000"/>
                  </a:schemeClr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11" name="Freeform 308">
                <a:extLst>
                  <a:ext uri="{FF2B5EF4-FFF2-40B4-BE49-F238E27FC236}">
                    <a16:creationId xmlns:a16="http://schemas.microsoft.com/office/drawing/2014/main" id="{42471DE1-1161-434A-A2D5-B9305688FF11}"/>
                  </a:ext>
                </a:extLst>
              </p:cNvPr>
              <p:cNvSpPr/>
              <p:nvPr/>
            </p:nvSpPr>
            <p:spPr>
              <a:xfrm>
                <a:off x="901148" y="4073432"/>
                <a:ext cx="348812" cy="354764"/>
              </a:xfrm>
              <a:custGeom>
                <a:avLst/>
                <a:gdLst>
                  <a:gd name="connsiteX0" fmla="*/ 77663 w 75993"/>
                  <a:gd name="connsiteY0" fmla="*/ 10391 h 76098"/>
                  <a:gd name="connsiteX1" fmla="*/ 74380 w 75993"/>
                  <a:gd name="connsiteY1" fmla="*/ 16407 h 76098"/>
                  <a:gd name="connsiteX2" fmla="*/ 47025 w 75993"/>
                  <a:gd name="connsiteY2" fmla="*/ 43751 h 76098"/>
                  <a:gd name="connsiteX3" fmla="*/ 16935 w 75993"/>
                  <a:gd name="connsiteY3" fmla="*/ 73830 h 76098"/>
                  <a:gd name="connsiteX4" fmla="*/ 8182 w 75993"/>
                  <a:gd name="connsiteY4" fmla="*/ 76565 h 76098"/>
                  <a:gd name="connsiteX5" fmla="*/ 4352 w 75993"/>
                  <a:gd name="connsiteY5" fmla="*/ 61799 h 76098"/>
                  <a:gd name="connsiteX6" fmla="*/ 19671 w 75993"/>
                  <a:gd name="connsiteY6" fmla="*/ 46486 h 76098"/>
                  <a:gd name="connsiteX7" fmla="*/ 62344 w 75993"/>
                  <a:gd name="connsiteY7" fmla="*/ 3828 h 76098"/>
                  <a:gd name="connsiteX8" fmla="*/ 74927 w 75993"/>
                  <a:gd name="connsiteY8" fmla="*/ 3282 h 76098"/>
                  <a:gd name="connsiteX9" fmla="*/ 77663 w 75993"/>
                  <a:gd name="connsiteY9" fmla="*/ 10391 h 7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993" h="76098">
                    <a:moveTo>
                      <a:pt x="77663" y="10391"/>
                    </a:moveTo>
                    <a:cubicBezTo>
                      <a:pt x="77663" y="12579"/>
                      <a:pt x="76568" y="14219"/>
                      <a:pt x="74380" y="16407"/>
                    </a:cubicBezTo>
                    <a:cubicBezTo>
                      <a:pt x="65080" y="25704"/>
                      <a:pt x="56326" y="34454"/>
                      <a:pt x="47025" y="43751"/>
                    </a:cubicBezTo>
                    <a:cubicBezTo>
                      <a:pt x="37178" y="53595"/>
                      <a:pt x="26783" y="63986"/>
                      <a:pt x="16935" y="73830"/>
                    </a:cubicBezTo>
                    <a:cubicBezTo>
                      <a:pt x="14200" y="76565"/>
                      <a:pt x="11464" y="77659"/>
                      <a:pt x="8182" y="76565"/>
                    </a:cubicBezTo>
                    <a:cubicBezTo>
                      <a:pt x="1617" y="74924"/>
                      <a:pt x="-572" y="66721"/>
                      <a:pt x="4352" y="61799"/>
                    </a:cubicBezTo>
                    <a:cubicBezTo>
                      <a:pt x="9276" y="56330"/>
                      <a:pt x="14747" y="51408"/>
                      <a:pt x="19671" y="46486"/>
                    </a:cubicBezTo>
                    <a:cubicBezTo>
                      <a:pt x="33895" y="32267"/>
                      <a:pt x="48120" y="18048"/>
                      <a:pt x="62344" y="3828"/>
                    </a:cubicBezTo>
                    <a:cubicBezTo>
                      <a:pt x="66174" y="0"/>
                      <a:pt x="71098" y="0"/>
                      <a:pt x="74927" y="3282"/>
                    </a:cubicBezTo>
                    <a:cubicBezTo>
                      <a:pt x="76568" y="4922"/>
                      <a:pt x="77116" y="7110"/>
                      <a:pt x="77663" y="10391"/>
                    </a:cubicBezTo>
                  </a:path>
                </a:pathLst>
              </a:custGeom>
              <a:solidFill>
                <a:srgbClr val="0070C0"/>
              </a:solidFill>
              <a:ln w="5470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235" name="Graphic 234">
              <a:extLst>
                <a:ext uri="{FF2B5EF4-FFF2-40B4-BE49-F238E27FC236}">
                  <a16:creationId xmlns:a16="http://schemas.microsoft.com/office/drawing/2014/main" id="{FC332765-42E1-4E7E-B25D-C7865C6FC6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r="49822" b="3361"/>
            <a:stretch/>
          </p:blipFill>
          <p:spPr>
            <a:xfrm>
              <a:off x="5176705" y="4341053"/>
              <a:ext cx="991556" cy="417548"/>
            </a:xfrm>
            <a:prstGeom prst="rect">
              <a:avLst/>
            </a:prstGeom>
          </p:spPr>
        </p:pic>
        <p:sp>
          <p:nvSpPr>
            <p:cNvPr id="236" name="Rectangle 235">
              <a:extLst>
                <a:ext uri="{FF2B5EF4-FFF2-40B4-BE49-F238E27FC236}">
                  <a16:creationId xmlns:a16="http://schemas.microsoft.com/office/drawing/2014/main" id="{3662529B-81B2-4EB6-B39D-1F242B76BDAF}"/>
                </a:ext>
              </a:extLst>
            </p:cNvPr>
            <p:cNvSpPr/>
            <p:nvPr/>
          </p:nvSpPr>
          <p:spPr>
            <a:xfrm>
              <a:off x="5008500" y="4832332"/>
              <a:ext cx="1224419" cy="23652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GB" sz="1200" kern="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ega</a:t>
              </a:r>
              <a:endParaRPr lang="en-US" sz="1200" kern="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349" name="Group 348">
              <a:extLst>
                <a:ext uri="{FF2B5EF4-FFF2-40B4-BE49-F238E27FC236}">
                  <a16:creationId xmlns:a16="http://schemas.microsoft.com/office/drawing/2014/main" id="{E9583DF0-4B45-46D2-82FB-8B9C08BB240F}"/>
                </a:ext>
              </a:extLst>
            </p:cNvPr>
            <p:cNvGrpSpPr/>
            <p:nvPr/>
          </p:nvGrpSpPr>
          <p:grpSpPr>
            <a:xfrm>
              <a:off x="9703571" y="4313523"/>
              <a:ext cx="464877" cy="334744"/>
              <a:chOff x="9392675" y="4505547"/>
              <a:chExt cx="464877" cy="334744"/>
            </a:xfrm>
          </p:grpSpPr>
          <p:grpSp>
            <p:nvGrpSpPr>
              <p:cNvPr id="272" name="Graphic 4">
                <a:extLst>
                  <a:ext uri="{FF2B5EF4-FFF2-40B4-BE49-F238E27FC236}">
                    <a16:creationId xmlns:a16="http://schemas.microsoft.com/office/drawing/2014/main" id="{1A04C27D-AF01-5A4F-8D28-AAD8318B3E4A}"/>
                  </a:ext>
                </a:extLst>
              </p:cNvPr>
              <p:cNvGrpSpPr/>
              <p:nvPr/>
            </p:nvGrpSpPr>
            <p:grpSpPr>
              <a:xfrm>
                <a:off x="9392675" y="4505547"/>
                <a:ext cx="341932" cy="135082"/>
                <a:chOff x="5141322" y="2156933"/>
                <a:chExt cx="341932" cy="135082"/>
              </a:xfrm>
              <a:noFill/>
            </p:grpSpPr>
            <p:sp>
              <p:nvSpPr>
                <p:cNvPr id="273" name="Freeform 361">
                  <a:extLst>
                    <a:ext uri="{FF2B5EF4-FFF2-40B4-BE49-F238E27FC236}">
                      <a16:creationId xmlns:a16="http://schemas.microsoft.com/office/drawing/2014/main" id="{BAAA4CD9-C1A1-EF41-A988-DF5BF0314773}"/>
                    </a:ext>
                  </a:extLst>
                </p:cNvPr>
                <p:cNvSpPr/>
                <p:nvPr/>
              </p:nvSpPr>
              <p:spPr>
                <a:xfrm>
                  <a:off x="5141322" y="2156933"/>
                  <a:ext cx="45955" cy="45938"/>
                </a:xfrm>
                <a:custGeom>
                  <a:avLst/>
                  <a:gdLst>
                    <a:gd name="connsiteX0" fmla="*/ 46821 w 45955"/>
                    <a:gd name="connsiteY0" fmla="*/ 23363 h 45938"/>
                    <a:gd name="connsiteX1" fmla="*/ 23843 w 45955"/>
                    <a:gd name="connsiteY1" fmla="*/ 46333 h 45938"/>
                    <a:gd name="connsiteX2" fmla="*/ 865 w 45955"/>
                    <a:gd name="connsiteY2" fmla="*/ 23363 h 45938"/>
                    <a:gd name="connsiteX3" fmla="*/ 23843 w 45955"/>
                    <a:gd name="connsiteY3" fmla="*/ 394 h 45938"/>
                    <a:gd name="connsiteX4" fmla="*/ 46821 w 45955"/>
                    <a:gd name="connsiteY4" fmla="*/ 23363 h 45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955" h="45938">
                      <a:moveTo>
                        <a:pt x="46821" y="23363"/>
                      </a:moveTo>
                      <a:cubicBezTo>
                        <a:pt x="46821" y="36049"/>
                        <a:pt x="36533" y="46333"/>
                        <a:pt x="23843" y="46333"/>
                      </a:cubicBezTo>
                      <a:cubicBezTo>
                        <a:pt x="11153" y="46333"/>
                        <a:pt x="865" y="36049"/>
                        <a:pt x="865" y="23363"/>
                      </a:cubicBezTo>
                      <a:cubicBezTo>
                        <a:pt x="865" y="10678"/>
                        <a:pt x="11153" y="394"/>
                        <a:pt x="23843" y="394"/>
                      </a:cubicBezTo>
                      <a:cubicBezTo>
                        <a:pt x="36533" y="394"/>
                        <a:pt x="46821" y="10678"/>
                        <a:pt x="46821" y="23363"/>
                      </a:cubicBezTo>
                      <a:close/>
                    </a:path>
                  </a:pathLst>
                </a:custGeom>
                <a:grpFill/>
                <a:ln w="16411" cap="flat">
                  <a:solidFill>
                    <a:schemeClr val="accent6">
                      <a:lumMod val="75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74" name="Freeform 362">
                  <a:extLst>
                    <a:ext uri="{FF2B5EF4-FFF2-40B4-BE49-F238E27FC236}">
                      <a16:creationId xmlns:a16="http://schemas.microsoft.com/office/drawing/2014/main" id="{94D5C87B-A6D3-5A46-905B-B6E9802271EF}"/>
                    </a:ext>
                  </a:extLst>
                </p:cNvPr>
                <p:cNvSpPr/>
                <p:nvPr/>
              </p:nvSpPr>
              <p:spPr>
                <a:xfrm>
                  <a:off x="5437299" y="2246077"/>
                  <a:ext cx="45955" cy="45938"/>
                </a:xfrm>
                <a:custGeom>
                  <a:avLst/>
                  <a:gdLst>
                    <a:gd name="connsiteX0" fmla="*/ 46821 w 45955"/>
                    <a:gd name="connsiteY0" fmla="*/ 23363 h 45938"/>
                    <a:gd name="connsiteX1" fmla="*/ 23843 w 45955"/>
                    <a:gd name="connsiteY1" fmla="*/ 46333 h 45938"/>
                    <a:gd name="connsiteX2" fmla="*/ 865 w 45955"/>
                    <a:gd name="connsiteY2" fmla="*/ 23363 h 45938"/>
                    <a:gd name="connsiteX3" fmla="*/ 23843 w 45955"/>
                    <a:gd name="connsiteY3" fmla="*/ 394 h 45938"/>
                    <a:gd name="connsiteX4" fmla="*/ 46821 w 45955"/>
                    <a:gd name="connsiteY4" fmla="*/ 23363 h 45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955" h="45938">
                      <a:moveTo>
                        <a:pt x="46821" y="23363"/>
                      </a:moveTo>
                      <a:cubicBezTo>
                        <a:pt x="46821" y="36049"/>
                        <a:pt x="36533" y="46333"/>
                        <a:pt x="23843" y="46333"/>
                      </a:cubicBezTo>
                      <a:cubicBezTo>
                        <a:pt x="11153" y="46333"/>
                        <a:pt x="865" y="36049"/>
                        <a:pt x="865" y="23363"/>
                      </a:cubicBezTo>
                      <a:cubicBezTo>
                        <a:pt x="865" y="10678"/>
                        <a:pt x="11153" y="394"/>
                        <a:pt x="23843" y="394"/>
                      </a:cubicBezTo>
                      <a:cubicBezTo>
                        <a:pt x="36533" y="394"/>
                        <a:pt x="46821" y="10678"/>
                        <a:pt x="46821" y="23363"/>
                      </a:cubicBezTo>
                      <a:close/>
                    </a:path>
                  </a:pathLst>
                </a:custGeom>
                <a:grpFill/>
                <a:ln w="16411" cap="flat">
                  <a:solidFill>
                    <a:schemeClr val="accent6">
                      <a:lumMod val="75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75" name="Freeform 363">
                  <a:extLst>
                    <a:ext uri="{FF2B5EF4-FFF2-40B4-BE49-F238E27FC236}">
                      <a16:creationId xmlns:a16="http://schemas.microsoft.com/office/drawing/2014/main" id="{B0995BB6-AEAA-C145-801E-8221CD8845A5}"/>
                    </a:ext>
                  </a:extLst>
                </p:cNvPr>
                <p:cNvSpPr/>
                <p:nvPr/>
              </p:nvSpPr>
              <p:spPr>
                <a:xfrm>
                  <a:off x="5357971" y="2172246"/>
                  <a:ext cx="45955" cy="45938"/>
                </a:xfrm>
                <a:custGeom>
                  <a:avLst/>
                  <a:gdLst>
                    <a:gd name="connsiteX0" fmla="*/ 46821 w 45955"/>
                    <a:gd name="connsiteY0" fmla="*/ 23363 h 45938"/>
                    <a:gd name="connsiteX1" fmla="*/ 23843 w 45955"/>
                    <a:gd name="connsiteY1" fmla="*/ 46333 h 45938"/>
                    <a:gd name="connsiteX2" fmla="*/ 865 w 45955"/>
                    <a:gd name="connsiteY2" fmla="*/ 23363 h 45938"/>
                    <a:gd name="connsiteX3" fmla="*/ 23843 w 45955"/>
                    <a:gd name="connsiteY3" fmla="*/ 394 h 45938"/>
                    <a:gd name="connsiteX4" fmla="*/ 46821 w 45955"/>
                    <a:gd name="connsiteY4" fmla="*/ 23363 h 45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955" h="45938">
                      <a:moveTo>
                        <a:pt x="46821" y="23363"/>
                      </a:moveTo>
                      <a:cubicBezTo>
                        <a:pt x="46821" y="36049"/>
                        <a:pt x="36533" y="46333"/>
                        <a:pt x="23843" y="46333"/>
                      </a:cubicBezTo>
                      <a:cubicBezTo>
                        <a:pt x="11153" y="46333"/>
                        <a:pt x="865" y="36049"/>
                        <a:pt x="865" y="23363"/>
                      </a:cubicBezTo>
                      <a:cubicBezTo>
                        <a:pt x="865" y="10678"/>
                        <a:pt x="11153" y="394"/>
                        <a:pt x="23843" y="394"/>
                      </a:cubicBezTo>
                      <a:cubicBezTo>
                        <a:pt x="36533" y="394"/>
                        <a:pt x="46821" y="10678"/>
                        <a:pt x="46821" y="23363"/>
                      </a:cubicBezTo>
                      <a:close/>
                    </a:path>
                  </a:pathLst>
                </a:custGeom>
                <a:grpFill/>
                <a:ln w="16411" cap="flat">
                  <a:solidFill>
                    <a:schemeClr val="accent6">
                      <a:lumMod val="75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76" name="Freeform 364">
                  <a:extLst>
                    <a:ext uri="{FF2B5EF4-FFF2-40B4-BE49-F238E27FC236}">
                      <a16:creationId xmlns:a16="http://schemas.microsoft.com/office/drawing/2014/main" id="{56245A47-D894-1C40-89D9-02A52B676DA5}"/>
                    </a:ext>
                  </a:extLst>
                </p:cNvPr>
                <p:cNvSpPr/>
                <p:nvPr/>
              </p:nvSpPr>
              <p:spPr>
                <a:xfrm>
                  <a:off x="5177977" y="2231311"/>
                  <a:ext cx="45955" cy="45938"/>
                </a:xfrm>
                <a:custGeom>
                  <a:avLst/>
                  <a:gdLst>
                    <a:gd name="connsiteX0" fmla="*/ 46821 w 45955"/>
                    <a:gd name="connsiteY0" fmla="*/ 23363 h 45938"/>
                    <a:gd name="connsiteX1" fmla="*/ 23843 w 45955"/>
                    <a:gd name="connsiteY1" fmla="*/ 46333 h 45938"/>
                    <a:gd name="connsiteX2" fmla="*/ 865 w 45955"/>
                    <a:gd name="connsiteY2" fmla="*/ 23363 h 45938"/>
                    <a:gd name="connsiteX3" fmla="*/ 23843 w 45955"/>
                    <a:gd name="connsiteY3" fmla="*/ 394 h 45938"/>
                    <a:gd name="connsiteX4" fmla="*/ 46821 w 45955"/>
                    <a:gd name="connsiteY4" fmla="*/ 23363 h 459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5955" h="45938">
                      <a:moveTo>
                        <a:pt x="46821" y="23363"/>
                      </a:moveTo>
                      <a:cubicBezTo>
                        <a:pt x="46821" y="36049"/>
                        <a:pt x="36533" y="46333"/>
                        <a:pt x="23843" y="46333"/>
                      </a:cubicBezTo>
                      <a:cubicBezTo>
                        <a:pt x="11153" y="46333"/>
                        <a:pt x="865" y="36049"/>
                        <a:pt x="865" y="23363"/>
                      </a:cubicBezTo>
                      <a:cubicBezTo>
                        <a:pt x="865" y="10678"/>
                        <a:pt x="11153" y="394"/>
                        <a:pt x="23843" y="394"/>
                      </a:cubicBezTo>
                      <a:cubicBezTo>
                        <a:pt x="36533" y="394"/>
                        <a:pt x="46821" y="10678"/>
                        <a:pt x="46821" y="23363"/>
                      </a:cubicBezTo>
                      <a:close/>
                    </a:path>
                  </a:pathLst>
                </a:custGeom>
                <a:grpFill/>
                <a:ln w="16411" cap="flat">
                  <a:solidFill>
                    <a:schemeClr val="accent6">
                      <a:lumMod val="75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77" name="Freeform 365">
                  <a:extLst>
                    <a:ext uri="{FF2B5EF4-FFF2-40B4-BE49-F238E27FC236}">
                      <a16:creationId xmlns:a16="http://schemas.microsoft.com/office/drawing/2014/main" id="{AD1D25FA-89BC-0841-BC85-D4D2EC4106C9}"/>
                    </a:ext>
                  </a:extLst>
                </p:cNvPr>
                <p:cNvSpPr/>
                <p:nvPr/>
              </p:nvSpPr>
              <p:spPr>
                <a:xfrm>
                  <a:off x="5187278" y="2179903"/>
                  <a:ext cx="256586" cy="89143"/>
                </a:xfrm>
                <a:custGeom>
                  <a:avLst/>
                  <a:gdLst>
                    <a:gd name="connsiteX0" fmla="*/ 865 w 256586"/>
                    <a:gd name="connsiteY0" fmla="*/ 394 h 89143"/>
                    <a:gd name="connsiteX1" fmla="*/ 65969 w 256586"/>
                    <a:gd name="connsiteY1" fmla="*/ 394 h 89143"/>
                    <a:gd name="connsiteX2" fmla="*/ 99889 w 256586"/>
                    <a:gd name="connsiteY2" fmla="*/ 89537 h 89143"/>
                    <a:gd name="connsiteX3" fmla="*/ 257452 w 256586"/>
                    <a:gd name="connsiteY3" fmla="*/ 89537 h 8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6586" h="89143">
                      <a:moveTo>
                        <a:pt x="865" y="394"/>
                      </a:moveTo>
                      <a:lnTo>
                        <a:pt x="65969" y="394"/>
                      </a:lnTo>
                      <a:lnTo>
                        <a:pt x="99889" y="89537"/>
                      </a:lnTo>
                      <a:lnTo>
                        <a:pt x="257452" y="89537"/>
                      </a:lnTo>
                    </a:path>
                  </a:pathLst>
                </a:custGeom>
                <a:grpFill/>
                <a:ln w="16411" cap="flat">
                  <a:solidFill>
                    <a:schemeClr val="accent6">
                      <a:lumMod val="75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78" name="Freeform 366">
                  <a:extLst>
                    <a:ext uri="{FF2B5EF4-FFF2-40B4-BE49-F238E27FC236}">
                      <a16:creationId xmlns:a16="http://schemas.microsoft.com/office/drawing/2014/main" id="{D3A940C0-783A-AD45-AD2A-36A2C111CC25}"/>
                    </a:ext>
                  </a:extLst>
                </p:cNvPr>
                <p:cNvSpPr/>
                <p:nvPr/>
              </p:nvSpPr>
              <p:spPr>
                <a:xfrm>
                  <a:off x="5262230" y="2195216"/>
                  <a:ext cx="101212" cy="5468"/>
                </a:xfrm>
                <a:custGeom>
                  <a:avLst/>
                  <a:gdLst>
                    <a:gd name="connsiteX0" fmla="*/ 865 w 101212"/>
                    <a:gd name="connsiteY0" fmla="*/ 394 h 5468"/>
                    <a:gd name="connsiteX1" fmla="*/ 102077 w 101212"/>
                    <a:gd name="connsiteY1" fmla="*/ 394 h 5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212" h="5468">
                      <a:moveTo>
                        <a:pt x="865" y="394"/>
                      </a:moveTo>
                      <a:lnTo>
                        <a:pt x="102077" y="394"/>
                      </a:lnTo>
                    </a:path>
                  </a:pathLst>
                </a:custGeom>
                <a:grpFill/>
                <a:ln w="16411" cap="flat">
                  <a:solidFill>
                    <a:schemeClr val="accent6">
                      <a:lumMod val="75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79" name="Freeform 367">
                  <a:extLst>
                    <a:ext uri="{FF2B5EF4-FFF2-40B4-BE49-F238E27FC236}">
                      <a16:creationId xmlns:a16="http://schemas.microsoft.com/office/drawing/2014/main" id="{7B102C27-63E3-5B42-B29A-F0014E184BF2}"/>
                    </a:ext>
                  </a:extLst>
                </p:cNvPr>
                <p:cNvSpPr/>
                <p:nvPr/>
              </p:nvSpPr>
              <p:spPr>
                <a:xfrm>
                  <a:off x="5226669" y="2254280"/>
                  <a:ext cx="50332" cy="5468"/>
                </a:xfrm>
                <a:custGeom>
                  <a:avLst/>
                  <a:gdLst>
                    <a:gd name="connsiteX0" fmla="*/ 51198 w 50332"/>
                    <a:gd name="connsiteY0" fmla="*/ 394 h 5468"/>
                    <a:gd name="connsiteX1" fmla="*/ 865 w 50332"/>
                    <a:gd name="connsiteY1" fmla="*/ 394 h 5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332" h="5468">
                      <a:moveTo>
                        <a:pt x="51198" y="394"/>
                      </a:moveTo>
                      <a:lnTo>
                        <a:pt x="865" y="394"/>
                      </a:lnTo>
                    </a:path>
                  </a:pathLst>
                </a:custGeom>
                <a:grpFill/>
                <a:ln w="16411" cap="flat">
                  <a:solidFill>
                    <a:schemeClr val="accent6">
                      <a:lumMod val="75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</p:grpSp>
          <p:grpSp>
            <p:nvGrpSpPr>
              <p:cNvPr id="259" name="Graphic 4">
                <a:extLst>
                  <a:ext uri="{FF2B5EF4-FFF2-40B4-BE49-F238E27FC236}">
                    <a16:creationId xmlns:a16="http://schemas.microsoft.com/office/drawing/2014/main" id="{1A04C27D-AF01-5A4F-8D28-AAD8318B3E4A}"/>
                  </a:ext>
                </a:extLst>
              </p:cNvPr>
              <p:cNvGrpSpPr/>
              <p:nvPr/>
            </p:nvGrpSpPr>
            <p:grpSpPr>
              <a:xfrm>
                <a:off x="9576347" y="4729273"/>
                <a:ext cx="281205" cy="111018"/>
                <a:chOff x="6491001" y="2170059"/>
                <a:chExt cx="281205" cy="111018"/>
              </a:xfrm>
              <a:noFill/>
            </p:grpSpPr>
            <p:sp>
              <p:nvSpPr>
                <p:cNvPr id="260" name="Freeform 375">
                  <a:extLst>
                    <a:ext uri="{FF2B5EF4-FFF2-40B4-BE49-F238E27FC236}">
                      <a16:creationId xmlns:a16="http://schemas.microsoft.com/office/drawing/2014/main" id="{B22F24D0-7550-D547-894D-3C986988B4E1}"/>
                    </a:ext>
                  </a:extLst>
                </p:cNvPr>
                <p:cNvSpPr/>
                <p:nvPr/>
              </p:nvSpPr>
              <p:spPr>
                <a:xfrm>
                  <a:off x="6491001" y="2170059"/>
                  <a:ext cx="38296" cy="38282"/>
                </a:xfrm>
                <a:custGeom>
                  <a:avLst/>
                  <a:gdLst>
                    <a:gd name="connsiteX0" fmla="*/ 39408 w 38296"/>
                    <a:gd name="connsiteY0" fmla="*/ 19537 h 38282"/>
                    <a:gd name="connsiteX1" fmla="*/ 20260 w 38296"/>
                    <a:gd name="connsiteY1" fmla="*/ 38678 h 38282"/>
                    <a:gd name="connsiteX2" fmla="*/ 1111 w 38296"/>
                    <a:gd name="connsiteY2" fmla="*/ 19537 h 38282"/>
                    <a:gd name="connsiteX3" fmla="*/ 20260 w 38296"/>
                    <a:gd name="connsiteY3" fmla="*/ 396 h 38282"/>
                    <a:gd name="connsiteX4" fmla="*/ 39408 w 38296"/>
                    <a:gd name="connsiteY4" fmla="*/ 19537 h 38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296" h="38282">
                      <a:moveTo>
                        <a:pt x="39408" y="19537"/>
                      </a:moveTo>
                      <a:cubicBezTo>
                        <a:pt x="39408" y="30109"/>
                        <a:pt x="30835" y="38678"/>
                        <a:pt x="20260" y="38678"/>
                      </a:cubicBezTo>
                      <a:cubicBezTo>
                        <a:pt x="9684" y="38678"/>
                        <a:pt x="1111" y="30109"/>
                        <a:pt x="1111" y="19537"/>
                      </a:cubicBezTo>
                      <a:cubicBezTo>
                        <a:pt x="1111" y="8966"/>
                        <a:pt x="9684" y="396"/>
                        <a:pt x="20260" y="396"/>
                      </a:cubicBezTo>
                      <a:cubicBezTo>
                        <a:pt x="30835" y="396"/>
                        <a:pt x="39408" y="8966"/>
                        <a:pt x="39408" y="19537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chemeClr val="accent3">
                      <a:lumMod val="60000"/>
                      <a:lumOff val="4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61" name="Freeform 376">
                  <a:extLst>
                    <a:ext uri="{FF2B5EF4-FFF2-40B4-BE49-F238E27FC236}">
                      <a16:creationId xmlns:a16="http://schemas.microsoft.com/office/drawing/2014/main" id="{EFD3EE36-5FBA-3F43-8ED4-846743C7DC80}"/>
                    </a:ext>
                  </a:extLst>
                </p:cNvPr>
                <p:cNvSpPr/>
                <p:nvPr/>
              </p:nvSpPr>
              <p:spPr>
                <a:xfrm>
                  <a:off x="6733910" y="2242795"/>
                  <a:ext cx="38296" cy="38282"/>
                </a:xfrm>
                <a:custGeom>
                  <a:avLst/>
                  <a:gdLst>
                    <a:gd name="connsiteX0" fmla="*/ 39408 w 38296"/>
                    <a:gd name="connsiteY0" fmla="*/ 19537 h 38282"/>
                    <a:gd name="connsiteX1" fmla="*/ 20260 w 38296"/>
                    <a:gd name="connsiteY1" fmla="*/ 38678 h 38282"/>
                    <a:gd name="connsiteX2" fmla="*/ 1111 w 38296"/>
                    <a:gd name="connsiteY2" fmla="*/ 19537 h 38282"/>
                    <a:gd name="connsiteX3" fmla="*/ 20260 w 38296"/>
                    <a:gd name="connsiteY3" fmla="*/ 396 h 38282"/>
                    <a:gd name="connsiteX4" fmla="*/ 39408 w 38296"/>
                    <a:gd name="connsiteY4" fmla="*/ 19537 h 38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296" h="38282">
                      <a:moveTo>
                        <a:pt x="39408" y="19537"/>
                      </a:moveTo>
                      <a:cubicBezTo>
                        <a:pt x="39408" y="30109"/>
                        <a:pt x="30835" y="38678"/>
                        <a:pt x="20260" y="38678"/>
                      </a:cubicBezTo>
                      <a:cubicBezTo>
                        <a:pt x="9684" y="38678"/>
                        <a:pt x="1111" y="30109"/>
                        <a:pt x="1111" y="19537"/>
                      </a:cubicBezTo>
                      <a:cubicBezTo>
                        <a:pt x="1111" y="8966"/>
                        <a:pt x="9684" y="396"/>
                        <a:pt x="20260" y="396"/>
                      </a:cubicBezTo>
                      <a:cubicBezTo>
                        <a:pt x="30835" y="396"/>
                        <a:pt x="39408" y="8966"/>
                        <a:pt x="39408" y="19537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chemeClr val="accent3">
                      <a:lumMod val="60000"/>
                      <a:lumOff val="4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62" name="Freeform 377">
                  <a:extLst>
                    <a:ext uri="{FF2B5EF4-FFF2-40B4-BE49-F238E27FC236}">
                      <a16:creationId xmlns:a16="http://schemas.microsoft.com/office/drawing/2014/main" id="{5A69D250-5BC1-1C46-95F8-0FDCCA5ED49E}"/>
                    </a:ext>
                  </a:extLst>
                </p:cNvPr>
                <p:cNvSpPr/>
                <p:nvPr/>
              </p:nvSpPr>
              <p:spPr>
                <a:xfrm>
                  <a:off x="6669353" y="2182637"/>
                  <a:ext cx="38296" cy="38282"/>
                </a:xfrm>
                <a:custGeom>
                  <a:avLst/>
                  <a:gdLst>
                    <a:gd name="connsiteX0" fmla="*/ 39408 w 38296"/>
                    <a:gd name="connsiteY0" fmla="*/ 19537 h 38282"/>
                    <a:gd name="connsiteX1" fmla="*/ 20260 w 38296"/>
                    <a:gd name="connsiteY1" fmla="*/ 38678 h 38282"/>
                    <a:gd name="connsiteX2" fmla="*/ 1111 w 38296"/>
                    <a:gd name="connsiteY2" fmla="*/ 19537 h 38282"/>
                    <a:gd name="connsiteX3" fmla="*/ 20260 w 38296"/>
                    <a:gd name="connsiteY3" fmla="*/ 396 h 38282"/>
                    <a:gd name="connsiteX4" fmla="*/ 39408 w 38296"/>
                    <a:gd name="connsiteY4" fmla="*/ 19537 h 38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296" h="38282">
                      <a:moveTo>
                        <a:pt x="39408" y="19537"/>
                      </a:moveTo>
                      <a:cubicBezTo>
                        <a:pt x="39408" y="30109"/>
                        <a:pt x="30835" y="38678"/>
                        <a:pt x="20260" y="38678"/>
                      </a:cubicBezTo>
                      <a:cubicBezTo>
                        <a:pt x="9684" y="38678"/>
                        <a:pt x="1111" y="30109"/>
                        <a:pt x="1111" y="19537"/>
                      </a:cubicBezTo>
                      <a:cubicBezTo>
                        <a:pt x="1111" y="8966"/>
                        <a:pt x="9684" y="396"/>
                        <a:pt x="20260" y="396"/>
                      </a:cubicBezTo>
                      <a:cubicBezTo>
                        <a:pt x="30835" y="396"/>
                        <a:pt x="39408" y="8966"/>
                        <a:pt x="39408" y="19537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chemeClr val="accent3">
                      <a:lumMod val="60000"/>
                      <a:lumOff val="4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63" name="Freeform 378">
                  <a:extLst>
                    <a:ext uri="{FF2B5EF4-FFF2-40B4-BE49-F238E27FC236}">
                      <a16:creationId xmlns:a16="http://schemas.microsoft.com/office/drawing/2014/main" id="{DAFAE40C-4209-A041-A3D1-D3662D361FED}"/>
                    </a:ext>
                  </a:extLst>
                </p:cNvPr>
                <p:cNvSpPr/>
                <p:nvPr/>
              </p:nvSpPr>
              <p:spPr>
                <a:xfrm>
                  <a:off x="6521091" y="2230764"/>
                  <a:ext cx="38296" cy="38282"/>
                </a:xfrm>
                <a:custGeom>
                  <a:avLst/>
                  <a:gdLst>
                    <a:gd name="connsiteX0" fmla="*/ 39408 w 38296"/>
                    <a:gd name="connsiteY0" fmla="*/ 19537 h 38282"/>
                    <a:gd name="connsiteX1" fmla="*/ 20260 w 38296"/>
                    <a:gd name="connsiteY1" fmla="*/ 38678 h 38282"/>
                    <a:gd name="connsiteX2" fmla="*/ 1111 w 38296"/>
                    <a:gd name="connsiteY2" fmla="*/ 19537 h 38282"/>
                    <a:gd name="connsiteX3" fmla="*/ 20260 w 38296"/>
                    <a:gd name="connsiteY3" fmla="*/ 396 h 38282"/>
                    <a:gd name="connsiteX4" fmla="*/ 39408 w 38296"/>
                    <a:gd name="connsiteY4" fmla="*/ 19537 h 38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296" h="38282">
                      <a:moveTo>
                        <a:pt x="39408" y="19537"/>
                      </a:moveTo>
                      <a:cubicBezTo>
                        <a:pt x="39408" y="30109"/>
                        <a:pt x="30835" y="38678"/>
                        <a:pt x="20260" y="38678"/>
                      </a:cubicBezTo>
                      <a:cubicBezTo>
                        <a:pt x="9684" y="38678"/>
                        <a:pt x="1111" y="30109"/>
                        <a:pt x="1111" y="19537"/>
                      </a:cubicBezTo>
                      <a:cubicBezTo>
                        <a:pt x="1111" y="8966"/>
                        <a:pt x="9684" y="396"/>
                        <a:pt x="20260" y="396"/>
                      </a:cubicBezTo>
                      <a:cubicBezTo>
                        <a:pt x="30835" y="396"/>
                        <a:pt x="39408" y="8966"/>
                        <a:pt x="39408" y="19537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chemeClr val="accent3">
                      <a:lumMod val="60000"/>
                      <a:lumOff val="4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64" name="Freeform 379">
                  <a:extLst>
                    <a:ext uri="{FF2B5EF4-FFF2-40B4-BE49-F238E27FC236}">
                      <a16:creationId xmlns:a16="http://schemas.microsoft.com/office/drawing/2014/main" id="{BAAF3996-AD12-DB4A-9C43-83F9D1F8CC8A}"/>
                    </a:ext>
                  </a:extLst>
                </p:cNvPr>
                <p:cNvSpPr/>
                <p:nvPr/>
              </p:nvSpPr>
              <p:spPr>
                <a:xfrm>
                  <a:off x="6529297" y="2189200"/>
                  <a:ext cx="210083" cy="72736"/>
                </a:xfrm>
                <a:custGeom>
                  <a:avLst/>
                  <a:gdLst>
                    <a:gd name="connsiteX0" fmla="*/ 1112 w 210083"/>
                    <a:gd name="connsiteY0" fmla="*/ 396 h 72736"/>
                    <a:gd name="connsiteX1" fmla="*/ 54727 w 210083"/>
                    <a:gd name="connsiteY1" fmla="*/ 396 h 72736"/>
                    <a:gd name="connsiteX2" fmla="*/ 82081 w 210083"/>
                    <a:gd name="connsiteY2" fmla="*/ 73132 h 72736"/>
                    <a:gd name="connsiteX3" fmla="*/ 211195 w 210083"/>
                    <a:gd name="connsiteY3" fmla="*/ 73132 h 72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10083" h="72736">
                      <a:moveTo>
                        <a:pt x="1112" y="396"/>
                      </a:moveTo>
                      <a:lnTo>
                        <a:pt x="54727" y="396"/>
                      </a:lnTo>
                      <a:lnTo>
                        <a:pt x="82081" y="73132"/>
                      </a:lnTo>
                      <a:lnTo>
                        <a:pt x="211195" y="73132"/>
                      </a:lnTo>
                    </a:path>
                  </a:pathLst>
                </a:custGeom>
                <a:noFill/>
                <a:ln w="19050" cap="flat">
                  <a:solidFill>
                    <a:schemeClr val="accent3">
                      <a:lumMod val="60000"/>
                      <a:lumOff val="4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65" name="Freeform 380">
                  <a:extLst>
                    <a:ext uri="{FF2B5EF4-FFF2-40B4-BE49-F238E27FC236}">
                      <a16:creationId xmlns:a16="http://schemas.microsoft.com/office/drawing/2014/main" id="{2DC389AA-3417-5D49-B61C-5894C2BF9232}"/>
                    </a:ext>
                  </a:extLst>
                </p:cNvPr>
                <p:cNvSpPr/>
                <p:nvPr/>
              </p:nvSpPr>
              <p:spPr>
                <a:xfrm>
                  <a:off x="6590572" y="2201778"/>
                  <a:ext cx="83158" cy="5468"/>
                </a:xfrm>
                <a:custGeom>
                  <a:avLst/>
                  <a:gdLst>
                    <a:gd name="connsiteX0" fmla="*/ 1112 w 83158"/>
                    <a:gd name="connsiteY0" fmla="*/ 396 h 5468"/>
                    <a:gd name="connsiteX1" fmla="*/ 84270 w 83158"/>
                    <a:gd name="connsiteY1" fmla="*/ 396 h 5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3158" h="5468">
                      <a:moveTo>
                        <a:pt x="1112" y="396"/>
                      </a:moveTo>
                      <a:lnTo>
                        <a:pt x="84270" y="396"/>
                      </a:lnTo>
                    </a:path>
                  </a:pathLst>
                </a:custGeom>
                <a:noFill/>
                <a:ln w="19050" cap="flat">
                  <a:solidFill>
                    <a:schemeClr val="accent3">
                      <a:lumMod val="60000"/>
                      <a:lumOff val="4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  <p:sp>
              <p:nvSpPr>
                <p:cNvPr id="266" name="Freeform 381">
                  <a:extLst>
                    <a:ext uri="{FF2B5EF4-FFF2-40B4-BE49-F238E27FC236}">
                      <a16:creationId xmlns:a16="http://schemas.microsoft.com/office/drawing/2014/main" id="{A71C39F3-3379-DC4F-97CD-2DFAD71C6056}"/>
                    </a:ext>
                  </a:extLst>
                </p:cNvPr>
                <p:cNvSpPr/>
                <p:nvPr/>
              </p:nvSpPr>
              <p:spPr>
                <a:xfrm>
                  <a:off x="6561576" y="2249905"/>
                  <a:ext cx="41031" cy="5468"/>
                </a:xfrm>
                <a:custGeom>
                  <a:avLst/>
                  <a:gdLst>
                    <a:gd name="connsiteX0" fmla="*/ 42143 w 41031"/>
                    <a:gd name="connsiteY0" fmla="*/ 396 h 5468"/>
                    <a:gd name="connsiteX1" fmla="*/ 1112 w 41031"/>
                    <a:gd name="connsiteY1" fmla="*/ 396 h 5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031" h="5468">
                      <a:moveTo>
                        <a:pt x="42143" y="396"/>
                      </a:moveTo>
                      <a:lnTo>
                        <a:pt x="1112" y="396"/>
                      </a:lnTo>
                    </a:path>
                  </a:pathLst>
                </a:custGeom>
                <a:noFill/>
                <a:ln w="19050" cap="flat">
                  <a:solidFill>
                    <a:schemeClr val="accent3">
                      <a:lumMod val="60000"/>
                      <a:lumOff val="40000"/>
                    </a:schemeClr>
                  </a:solidFill>
                  <a:prstDash val="solid"/>
                  <a:miter/>
                </a:ln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 dirty="0"/>
                </a:p>
              </p:txBody>
            </p:sp>
          </p:grpSp>
        </p:grpSp>
        <p:grpSp>
          <p:nvGrpSpPr>
            <p:cNvPr id="288" name="Group 287">
              <a:extLst>
                <a:ext uri="{FF2B5EF4-FFF2-40B4-BE49-F238E27FC236}">
                  <a16:creationId xmlns:a16="http://schemas.microsoft.com/office/drawing/2014/main" id="{7EB60CD6-BAEF-41B7-A362-E66C2BD8DD88}"/>
                </a:ext>
              </a:extLst>
            </p:cNvPr>
            <p:cNvGrpSpPr/>
            <p:nvPr/>
          </p:nvGrpSpPr>
          <p:grpSpPr>
            <a:xfrm>
              <a:off x="8670862" y="4377230"/>
              <a:ext cx="293944" cy="366603"/>
              <a:chOff x="342761" y="2082112"/>
              <a:chExt cx="567726" cy="700603"/>
            </a:xfrm>
          </p:grpSpPr>
          <p:sp>
            <p:nvSpPr>
              <p:cNvPr id="249" name="Freeform 632">
                <a:extLst>
                  <a:ext uri="{FF2B5EF4-FFF2-40B4-BE49-F238E27FC236}">
                    <a16:creationId xmlns:a16="http://schemas.microsoft.com/office/drawing/2014/main" id="{EB018A1F-88B8-224D-92CF-F549ABD1969B}"/>
                  </a:ext>
                </a:extLst>
              </p:cNvPr>
              <p:cNvSpPr/>
              <p:nvPr/>
            </p:nvSpPr>
            <p:spPr>
              <a:xfrm>
                <a:off x="554319" y="2711379"/>
                <a:ext cx="149020" cy="71336"/>
              </a:xfrm>
              <a:custGeom>
                <a:avLst/>
                <a:gdLst>
                  <a:gd name="connsiteX0" fmla="*/ 24522 w 54709"/>
                  <a:gd name="connsiteY0" fmla="*/ 27727 h 27344"/>
                  <a:gd name="connsiteX1" fmla="*/ 11392 w 54709"/>
                  <a:gd name="connsiteY1" fmla="*/ 21712 h 27344"/>
                  <a:gd name="connsiteX2" fmla="*/ 997 w 54709"/>
                  <a:gd name="connsiteY2" fmla="*/ 383 h 27344"/>
                  <a:gd name="connsiteX3" fmla="*/ 55707 w 54709"/>
                  <a:gd name="connsiteY3" fmla="*/ 383 h 27344"/>
                  <a:gd name="connsiteX4" fmla="*/ 43123 w 54709"/>
                  <a:gd name="connsiteY4" fmla="*/ 23352 h 27344"/>
                  <a:gd name="connsiteX5" fmla="*/ 32182 w 54709"/>
                  <a:gd name="connsiteY5" fmla="*/ 27727 h 27344"/>
                  <a:gd name="connsiteX6" fmla="*/ 24522 w 54709"/>
                  <a:gd name="connsiteY6" fmla="*/ 27727 h 27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709" h="27344">
                    <a:moveTo>
                      <a:pt x="24522" y="27727"/>
                    </a:moveTo>
                    <a:cubicBezTo>
                      <a:pt x="19598" y="26634"/>
                      <a:pt x="15222" y="24993"/>
                      <a:pt x="11392" y="21712"/>
                    </a:cubicBezTo>
                    <a:cubicBezTo>
                      <a:pt x="4827" y="16790"/>
                      <a:pt x="997" y="8586"/>
                      <a:pt x="997" y="383"/>
                    </a:cubicBezTo>
                    <a:lnTo>
                      <a:pt x="55707" y="383"/>
                    </a:lnTo>
                    <a:cubicBezTo>
                      <a:pt x="55159" y="10227"/>
                      <a:pt x="51330" y="17883"/>
                      <a:pt x="43123" y="23352"/>
                    </a:cubicBezTo>
                    <a:cubicBezTo>
                      <a:pt x="39841" y="25540"/>
                      <a:pt x="36011" y="26087"/>
                      <a:pt x="32182" y="27727"/>
                    </a:cubicBezTo>
                    <a:lnTo>
                      <a:pt x="24522" y="27727"/>
                    </a:lnTo>
                    <a:close/>
                  </a:path>
                </a:pathLst>
              </a:custGeom>
              <a:solidFill>
                <a:schemeClr val="accent4"/>
              </a:solidFill>
              <a:ln w="5470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50" name="Freeform 633">
                <a:extLst>
                  <a:ext uri="{FF2B5EF4-FFF2-40B4-BE49-F238E27FC236}">
                    <a16:creationId xmlns:a16="http://schemas.microsoft.com/office/drawing/2014/main" id="{A28CCB5B-CD94-F34B-B199-C0F72595E489}"/>
                  </a:ext>
                </a:extLst>
              </p:cNvPr>
              <p:cNvSpPr/>
              <p:nvPr/>
            </p:nvSpPr>
            <p:spPr>
              <a:xfrm>
                <a:off x="342761" y="2082112"/>
                <a:ext cx="567726" cy="590743"/>
              </a:xfrm>
              <a:custGeom>
                <a:avLst/>
                <a:gdLst>
                  <a:gd name="connsiteX0" fmla="*/ 85230 w 208425"/>
                  <a:gd name="connsiteY0" fmla="*/ 30489 h 226439"/>
                  <a:gd name="connsiteX1" fmla="*/ 85777 w 208425"/>
                  <a:gd name="connsiteY1" fmla="*/ 17911 h 226439"/>
                  <a:gd name="connsiteX2" fmla="*/ 107661 w 208425"/>
                  <a:gd name="connsiteY2" fmla="*/ 411 h 226439"/>
                  <a:gd name="connsiteX3" fmla="*/ 126262 w 208425"/>
                  <a:gd name="connsiteY3" fmla="*/ 19552 h 226439"/>
                  <a:gd name="connsiteX4" fmla="*/ 126262 w 208425"/>
                  <a:gd name="connsiteY4" fmla="*/ 28302 h 226439"/>
                  <a:gd name="connsiteX5" fmla="*/ 127903 w 208425"/>
                  <a:gd name="connsiteY5" fmla="*/ 30489 h 226439"/>
                  <a:gd name="connsiteX6" fmla="*/ 185895 w 208425"/>
                  <a:gd name="connsiteY6" fmla="*/ 96116 h 226439"/>
                  <a:gd name="connsiteX7" fmla="*/ 188084 w 208425"/>
                  <a:gd name="connsiteY7" fmla="*/ 118539 h 226439"/>
                  <a:gd name="connsiteX8" fmla="*/ 188084 w 208425"/>
                  <a:gd name="connsiteY8" fmla="*/ 162837 h 226439"/>
                  <a:gd name="connsiteX9" fmla="*/ 188084 w 208425"/>
                  <a:gd name="connsiteY9" fmla="*/ 185259 h 226439"/>
                  <a:gd name="connsiteX10" fmla="*/ 203402 w 208425"/>
                  <a:gd name="connsiteY10" fmla="*/ 201119 h 226439"/>
                  <a:gd name="connsiteX11" fmla="*/ 206138 w 208425"/>
                  <a:gd name="connsiteY11" fmla="*/ 203854 h 226439"/>
                  <a:gd name="connsiteX12" fmla="*/ 199573 w 208425"/>
                  <a:gd name="connsiteY12" fmla="*/ 226276 h 226439"/>
                  <a:gd name="connsiteX13" fmla="*/ 194649 w 208425"/>
                  <a:gd name="connsiteY13" fmla="*/ 226823 h 226439"/>
                  <a:gd name="connsiteX14" fmla="*/ 15749 w 208425"/>
                  <a:gd name="connsiteY14" fmla="*/ 226823 h 226439"/>
                  <a:gd name="connsiteX15" fmla="*/ 2072 w 208425"/>
                  <a:gd name="connsiteY15" fmla="*/ 218073 h 226439"/>
                  <a:gd name="connsiteX16" fmla="*/ 5902 w 208425"/>
                  <a:gd name="connsiteY16" fmla="*/ 202760 h 226439"/>
                  <a:gd name="connsiteX17" fmla="*/ 20126 w 208425"/>
                  <a:gd name="connsiteY17" fmla="*/ 188541 h 226439"/>
                  <a:gd name="connsiteX18" fmla="*/ 22862 w 208425"/>
                  <a:gd name="connsiteY18" fmla="*/ 181978 h 226439"/>
                  <a:gd name="connsiteX19" fmla="*/ 22862 w 208425"/>
                  <a:gd name="connsiteY19" fmla="*/ 115257 h 226439"/>
                  <a:gd name="connsiteX20" fmla="*/ 35992 w 208425"/>
                  <a:gd name="connsiteY20" fmla="*/ 66037 h 226439"/>
                  <a:gd name="connsiteX21" fmla="*/ 81948 w 208425"/>
                  <a:gd name="connsiteY21" fmla="*/ 31036 h 226439"/>
                  <a:gd name="connsiteX22" fmla="*/ 85230 w 208425"/>
                  <a:gd name="connsiteY22" fmla="*/ 30489 h 226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8425" h="226439">
                    <a:moveTo>
                      <a:pt x="85230" y="30489"/>
                    </a:moveTo>
                    <a:cubicBezTo>
                      <a:pt x="85230" y="26114"/>
                      <a:pt x="85230" y="21739"/>
                      <a:pt x="85777" y="17911"/>
                    </a:cubicBezTo>
                    <a:cubicBezTo>
                      <a:pt x="87419" y="7520"/>
                      <a:pt x="96719" y="-136"/>
                      <a:pt x="107661" y="411"/>
                    </a:cubicBezTo>
                    <a:cubicBezTo>
                      <a:pt x="117509" y="957"/>
                      <a:pt x="126262" y="9708"/>
                      <a:pt x="126262" y="19552"/>
                    </a:cubicBezTo>
                    <a:cubicBezTo>
                      <a:pt x="126262" y="22286"/>
                      <a:pt x="126262" y="25021"/>
                      <a:pt x="126262" y="28302"/>
                    </a:cubicBezTo>
                    <a:cubicBezTo>
                      <a:pt x="126262" y="29943"/>
                      <a:pt x="126809" y="30489"/>
                      <a:pt x="127903" y="30489"/>
                    </a:cubicBezTo>
                    <a:cubicBezTo>
                      <a:pt x="161276" y="39787"/>
                      <a:pt x="179330" y="63303"/>
                      <a:pt x="185895" y="96116"/>
                    </a:cubicBezTo>
                    <a:cubicBezTo>
                      <a:pt x="187537" y="103226"/>
                      <a:pt x="187537" y="110882"/>
                      <a:pt x="188084" y="118539"/>
                    </a:cubicBezTo>
                    <a:cubicBezTo>
                      <a:pt x="188631" y="133305"/>
                      <a:pt x="188084" y="148071"/>
                      <a:pt x="188084" y="162837"/>
                    </a:cubicBezTo>
                    <a:cubicBezTo>
                      <a:pt x="188084" y="170493"/>
                      <a:pt x="188084" y="177603"/>
                      <a:pt x="188084" y="185259"/>
                    </a:cubicBezTo>
                    <a:cubicBezTo>
                      <a:pt x="193007" y="190728"/>
                      <a:pt x="198478" y="195650"/>
                      <a:pt x="203402" y="201119"/>
                    </a:cubicBezTo>
                    <a:cubicBezTo>
                      <a:pt x="204496" y="202213"/>
                      <a:pt x="205591" y="202760"/>
                      <a:pt x="206138" y="203854"/>
                    </a:cubicBezTo>
                    <a:cubicBezTo>
                      <a:pt x="212703" y="211510"/>
                      <a:pt x="208873" y="222995"/>
                      <a:pt x="199573" y="226276"/>
                    </a:cubicBezTo>
                    <a:cubicBezTo>
                      <a:pt x="197931" y="226823"/>
                      <a:pt x="196290" y="226823"/>
                      <a:pt x="194649" y="226823"/>
                    </a:cubicBezTo>
                    <a:cubicBezTo>
                      <a:pt x="135016" y="226823"/>
                      <a:pt x="75382" y="226823"/>
                      <a:pt x="15749" y="226823"/>
                    </a:cubicBezTo>
                    <a:cubicBezTo>
                      <a:pt x="9184" y="226823"/>
                      <a:pt x="4260" y="224089"/>
                      <a:pt x="2072" y="218073"/>
                    </a:cubicBezTo>
                    <a:cubicBezTo>
                      <a:pt x="-116" y="212057"/>
                      <a:pt x="978" y="207135"/>
                      <a:pt x="5902" y="202760"/>
                    </a:cubicBezTo>
                    <a:cubicBezTo>
                      <a:pt x="10825" y="197838"/>
                      <a:pt x="15202" y="192916"/>
                      <a:pt x="20126" y="188541"/>
                    </a:cubicBezTo>
                    <a:cubicBezTo>
                      <a:pt x="22314" y="186353"/>
                      <a:pt x="22862" y="184712"/>
                      <a:pt x="22862" y="181978"/>
                    </a:cubicBezTo>
                    <a:cubicBezTo>
                      <a:pt x="22862" y="159556"/>
                      <a:pt x="22862" y="137680"/>
                      <a:pt x="22862" y="115257"/>
                    </a:cubicBezTo>
                    <a:cubicBezTo>
                      <a:pt x="22862" y="97757"/>
                      <a:pt x="27238" y="80803"/>
                      <a:pt x="35992" y="66037"/>
                    </a:cubicBezTo>
                    <a:cubicBezTo>
                      <a:pt x="46934" y="48537"/>
                      <a:pt x="62252" y="36505"/>
                      <a:pt x="81948" y="31036"/>
                    </a:cubicBezTo>
                    <a:cubicBezTo>
                      <a:pt x="83589" y="31036"/>
                      <a:pt x="84136" y="31036"/>
                      <a:pt x="85230" y="30489"/>
                    </a:cubicBezTo>
                  </a:path>
                </a:pathLst>
              </a:custGeom>
              <a:solidFill>
                <a:schemeClr val="accent4"/>
              </a:solidFill>
              <a:ln w="5470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321" name="Group 320">
              <a:extLst>
                <a:ext uri="{FF2B5EF4-FFF2-40B4-BE49-F238E27FC236}">
                  <a16:creationId xmlns:a16="http://schemas.microsoft.com/office/drawing/2014/main" id="{85248CF1-34DF-4B3F-84D3-A732AF50D098}"/>
                </a:ext>
              </a:extLst>
            </p:cNvPr>
            <p:cNvGrpSpPr/>
            <p:nvPr/>
          </p:nvGrpSpPr>
          <p:grpSpPr>
            <a:xfrm>
              <a:off x="8101878" y="2016884"/>
              <a:ext cx="467341" cy="344851"/>
              <a:chOff x="271004" y="2697655"/>
              <a:chExt cx="726693" cy="617842"/>
            </a:xfrm>
          </p:grpSpPr>
          <p:sp>
            <p:nvSpPr>
              <p:cNvPr id="303" name="Freeform 400">
                <a:extLst>
                  <a:ext uri="{FF2B5EF4-FFF2-40B4-BE49-F238E27FC236}">
                    <a16:creationId xmlns:a16="http://schemas.microsoft.com/office/drawing/2014/main" id="{8EBF9482-42E2-164E-AF58-926E1E73D368}"/>
                  </a:ext>
                </a:extLst>
              </p:cNvPr>
              <p:cNvSpPr/>
              <p:nvPr/>
            </p:nvSpPr>
            <p:spPr>
              <a:xfrm>
                <a:off x="459457" y="2780230"/>
                <a:ext cx="538240" cy="535267"/>
              </a:xfrm>
              <a:custGeom>
                <a:avLst/>
                <a:gdLst>
                  <a:gd name="connsiteX0" fmla="*/ 187650 w 217195"/>
                  <a:gd name="connsiteY0" fmla="*/ 209281 h 209155"/>
                  <a:gd name="connsiteX1" fmla="*/ 182179 w 217195"/>
                  <a:gd name="connsiteY1" fmla="*/ 203812 h 209155"/>
                  <a:gd name="connsiteX2" fmla="*/ 149353 w 217195"/>
                  <a:gd name="connsiteY2" fmla="*/ 166077 h 209155"/>
                  <a:gd name="connsiteX3" fmla="*/ 134582 w 217195"/>
                  <a:gd name="connsiteY3" fmla="*/ 159514 h 209155"/>
                  <a:gd name="connsiteX4" fmla="*/ 50877 w 217195"/>
                  <a:gd name="connsiteY4" fmla="*/ 159514 h 209155"/>
                  <a:gd name="connsiteX5" fmla="*/ 1638 w 217195"/>
                  <a:gd name="connsiteY5" fmla="*/ 117404 h 209155"/>
                  <a:gd name="connsiteX6" fmla="*/ 544 w 217195"/>
                  <a:gd name="connsiteY6" fmla="*/ 105372 h 209155"/>
                  <a:gd name="connsiteX7" fmla="*/ 544 w 217195"/>
                  <a:gd name="connsiteY7" fmla="*/ 52871 h 209155"/>
                  <a:gd name="connsiteX8" fmla="*/ 31181 w 217195"/>
                  <a:gd name="connsiteY8" fmla="*/ 4744 h 209155"/>
                  <a:gd name="connsiteX9" fmla="*/ 49782 w 217195"/>
                  <a:gd name="connsiteY9" fmla="*/ 369 h 209155"/>
                  <a:gd name="connsiteX10" fmla="*/ 168502 w 217195"/>
                  <a:gd name="connsiteY10" fmla="*/ 369 h 209155"/>
                  <a:gd name="connsiteX11" fmla="*/ 212816 w 217195"/>
                  <a:gd name="connsiteY11" fmla="*/ 29354 h 209155"/>
                  <a:gd name="connsiteX12" fmla="*/ 217740 w 217195"/>
                  <a:gd name="connsiteY12" fmla="*/ 51777 h 209155"/>
                  <a:gd name="connsiteX13" fmla="*/ 217740 w 217195"/>
                  <a:gd name="connsiteY13" fmla="*/ 109747 h 209155"/>
                  <a:gd name="connsiteX14" fmla="*/ 192027 w 217195"/>
                  <a:gd name="connsiteY14" fmla="*/ 152404 h 209155"/>
                  <a:gd name="connsiteX15" fmla="*/ 187650 w 217195"/>
                  <a:gd name="connsiteY15" fmla="*/ 159514 h 209155"/>
                  <a:gd name="connsiteX16" fmla="*/ 187650 w 217195"/>
                  <a:gd name="connsiteY16" fmla="*/ 204359 h 209155"/>
                  <a:gd name="connsiteX17" fmla="*/ 187650 w 217195"/>
                  <a:gd name="connsiteY17" fmla="*/ 207640 h 209155"/>
                  <a:gd name="connsiteX18" fmla="*/ 187650 w 217195"/>
                  <a:gd name="connsiteY18" fmla="*/ 209281 h 209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7195" h="209155">
                    <a:moveTo>
                      <a:pt x="187650" y="209281"/>
                    </a:moveTo>
                    <a:cubicBezTo>
                      <a:pt x="186009" y="207640"/>
                      <a:pt x="184367" y="205453"/>
                      <a:pt x="182179" y="203812"/>
                    </a:cubicBezTo>
                    <a:cubicBezTo>
                      <a:pt x="171237" y="191234"/>
                      <a:pt x="159748" y="179202"/>
                      <a:pt x="149353" y="166077"/>
                    </a:cubicBezTo>
                    <a:cubicBezTo>
                      <a:pt x="144977" y="161155"/>
                      <a:pt x="141147" y="159514"/>
                      <a:pt x="134582" y="159514"/>
                    </a:cubicBezTo>
                    <a:cubicBezTo>
                      <a:pt x="106680" y="159514"/>
                      <a:pt x="78778" y="159514"/>
                      <a:pt x="50877" y="159514"/>
                    </a:cubicBezTo>
                    <a:cubicBezTo>
                      <a:pt x="26804" y="159514"/>
                      <a:pt x="4921" y="140373"/>
                      <a:pt x="1638" y="117404"/>
                    </a:cubicBezTo>
                    <a:cubicBezTo>
                      <a:pt x="1091" y="113575"/>
                      <a:pt x="544" y="109200"/>
                      <a:pt x="544" y="105372"/>
                    </a:cubicBezTo>
                    <a:cubicBezTo>
                      <a:pt x="544" y="87871"/>
                      <a:pt x="544" y="70371"/>
                      <a:pt x="544" y="52871"/>
                    </a:cubicBezTo>
                    <a:cubicBezTo>
                      <a:pt x="544" y="30448"/>
                      <a:pt x="10939" y="14041"/>
                      <a:pt x="31181" y="4744"/>
                    </a:cubicBezTo>
                    <a:cubicBezTo>
                      <a:pt x="37199" y="2010"/>
                      <a:pt x="43217" y="369"/>
                      <a:pt x="49782" y="369"/>
                    </a:cubicBezTo>
                    <a:cubicBezTo>
                      <a:pt x="89173" y="369"/>
                      <a:pt x="129111" y="-178"/>
                      <a:pt x="168502" y="369"/>
                    </a:cubicBezTo>
                    <a:cubicBezTo>
                      <a:pt x="188744" y="369"/>
                      <a:pt x="203516" y="10760"/>
                      <a:pt x="212816" y="29354"/>
                    </a:cubicBezTo>
                    <a:cubicBezTo>
                      <a:pt x="216646" y="36464"/>
                      <a:pt x="217740" y="44120"/>
                      <a:pt x="217740" y="51777"/>
                    </a:cubicBezTo>
                    <a:cubicBezTo>
                      <a:pt x="217740" y="70918"/>
                      <a:pt x="217740" y="90059"/>
                      <a:pt x="217740" y="109747"/>
                    </a:cubicBezTo>
                    <a:cubicBezTo>
                      <a:pt x="217740" y="128888"/>
                      <a:pt x="208439" y="143107"/>
                      <a:pt x="192027" y="152404"/>
                    </a:cubicBezTo>
                    <a:cubicBezTo>
                      <a:pt x="188744" y="154045"/>
                      <a:pt x="187650" y="155686"/>
                      <a:pt x="187650" y="159514"/>
                    </a:cubicBezTo>
                    <a:cubicBezTo>
                      <a:pt x="187650" y="174280"/>
                      <a:pt x="187650" y="189593"/>
                      <a:pt x="187650" y="204359"/>
                    </a:cubicBezTo>
                    <a:cubicBezTo>
                      <a:pt x="187650" y="205453"/>
                      <a:pt x="187650" y="206547"/>
                      <a:pt x="187650" y="207640"/>
                    </a:cubicBezTo>
                    <a:lnTo>
                      <a:pt x="187650" y="209281"/>
                    </a:ln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5470" cap="flat">
                <a:solidFill>
                  <a:schemeClr val="accent5">
                    <a:lumMod val="50000"/>
                  </a:schemeClr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04" name="Freeform 401">
                <a:extLst>
                  <a:ext uri="{FF2B5EF4-FFF2-40B4-BE49-F238E27FC236}">
                    <a16:creationId xmlns:a16="http://schemas.microsoft.com/office/drawing/2014/main" id="{1E7F79A6-1726-0B4C-957B-FD6A9FA8756F}"/>
                  </a:ext>
                </a:extLst>
              </p:cNvPr>
              <p:cNvSpPr/>
              <p:nvPr/>
            </p:nvSpPr>
            <p:spPr>
              <a:xfrm>
                <a:off x="271004" y="2697655"/>
                <a:ext cx="429779" cy="428897"/>
              </a:xfrm>
              <a:custGeom>
                <a:avLst/>
                <a:gdLst>
                  <a:gd name="connsiteX0" fmla="*/ 173425 w 173428"/>
                  <a:gd name="connsiteY0" fmla="*/ 18416 h 167591"/>
                  <a:gd name="connsiteX1" fmla="*/ 169596 w 173428"/>
                  <a:gd name="connsiteY1" fmla="*/ 18416 h 167591"/>
                  <a:gd name="connsiteX2" fmla="*/ 129111 w 173428"/>
                  <a:gd name="connsiteY2" fmla="*/ 18416 h 167591"/>
                  <a:gd name="connsiteX3" fmla="*/ 70572 w 173428"/>
                  <a:gd name="connsiteY3" fmla="*/ 52871 h 167591"/>
                  <a:gd name="connsiteX4" fmla="*/ 62913 w 173428"/>
                  <a:gd name="connsiteY4" fmla="*/ 83496 h 167591"/>
                  <a:gd name="connsiteX5" fmla="*/ 62913 w 173428"/>
                  <a:gd name="connsiteY5" fmla="*/ 120685 h 167591"/>
                  <a:gd name="connsiteX6" fmla="*/ 60177 w 173428"/>
                  <a:gd name="connsiteY6" fmla="*/ 128888 h 167591"/>
                  <a:gd name="connsiteX7" fmla="*/ 26804 w 173428"/>
                  <a:gd name="connsiteY7" fmla="*/ 166077 h 167591"/>
                  <a:gd name="connsiteX8" fmla="*/ 25163 w 173428"/>
                  <a:gd name="connsiteY8" fmla="*/ 167717 h 167591"/>
                  <a:gd name="connsiteX9" fmla="*/ 24616 w 173428"/>
                  <a:gd name="connsiteY9" fmla="*/ 166624 h 167591"/>
                  <a:gd name="connsiteX10" fmla="*/ 24616 w 173428"/>
                  <a:gd name="connsiteY10" fmla="*/ 125060 h 167591"/>
                  <a:gd name="connsiteX11" fmla="*/ 22428 w 173428"/>
                  <a:gd name="connsiteY11" fmla="*/ 121232 h 167591"/>
                  <a:gd name="connsiteX12" fmla="*/ 544 w 173428"/>
                  <a:gd name="connsiteY12" fmla="*/ 85137 h 167591"/>
                  <a:gd name="connsiteX13" fmla="*/ 544 w 173428"/>
                  <a:gd name="connsiteY13" fmla="*/ 41386 h 167591"/>
                  <a:gd name="connsiteX14" fmla="*/ 32822 w 173428"/>
                  <a:gd name="connsiteY14" fmla="*/ 1463 h 167591"/>
                  <a:gd name="connsiteX15" fmla="*/ 43217 w 173428"/>
                  <a:gd name="connsiteY15" fmla="*/ 369 h 167591"/>
                  <a:gd name="connsiteX16" fmla="*/ 143335 w 173428"/>
                  <a:gd name="connsiteY16" fmla="*/ 369 h 167591"/>
                  <a:gd name="connsiteX17" fmla="*/ 173973 w 173428"/>
                  <a:gd name="connsiteY17" fmla="*/ 16776 h 167591"/>
                  <a:gd name="connsiteX18" fmla="*/ 173425 w 173428"/>
                  <a:gd name="connsiteY18" fmla="*/ 18416 h 167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3428" h="167591">
                    <a:moveTo>
                      <a:pt x="173425" y="18416"/>
                    </a:moveTo>
                    <a:lnTo>
                      <a:pt x="169596" y="18416"/>
                    </a:lnTo>
                    <a:cubicBezTo>
                      <a:pt x="155918" y="18416"/>
                      <a:pt x="142788" y="18416"/>
                      <a:pt x="129111" y="18416"/>
                    </a:cubicBezTo>
                    <a:cubicBezTo>
                      <a:pt x="102850" y="18416"/>
                      <a:pt x="83155" y="29901"/>
                      <a:pt x="70572" y="52871"/>
                    </a:cubicBezTo>
                    <a:cubicBezTo>
                      <a:pt x="65101" y="62168"/>
                      <a:pt x="62913" y="72559"/>
                      <a:pt x="62913" y="83496"/>
                    </a:cubicBezTo>
                    <a:cubicBezTo>
                      <a:pt x="62913" y="96075"/>
                      <a:pt x="62913" y="108106"/>
                      <a:pt x="62913" y="120685"/>
                    </a:cubicBezTo>
                    <a:cubicBezTo>
                      <a:pt x="62913" y="123966"/>
                      <a:pt x="62366" y="126154"/>
                      <a:pt x="60177" y="128888"/>
                    </a:cubicBezTo>
                    <a:cubicBezTo>
                      <a:pt x="48688" y="140920"/>
                      <a:pt x="37746" y="153498"/>
                      <a:pt x="26804" y="166077"/>
                    </a:cubicBezTo>
                    <a:cubicBezTo>
                      <a:pt x="26257" y="166624"/>
                      <a:pt x="25710" y="166624"/>
                      <a:pt x="25163" y="167717"/>
                    </a:cubicBezTo>
                    <a:cubicBezTo>
                      <a:pt x="24616" y="167170"/>
                      <a:pt x="24616" y="166624"/>
                      <a:pt x="24616" y="166624"/>
                    </a:cubicBezTo>
                    <a:cubicBezTo>
                      <a:pt x="24616" y="152951"/>
                      <a:pt x="24616" y="138732"/>
                      <a:pt x="24616" y="125060"/>
                    </a:cubicBezTo>
                    <a:cubicBezTo>
                      <a:pt x="24616" y="122872"/>
                      <a:pt x="24069" y="122326"/>
                      <a:pt x="22428" y="121232"/>
                    </a:cubicBezTo>
                    <a:cubicBezTo>
                      <a:pt x="8203" y="113575"/>
                      <a:pt x="544" y="101544"/>
                      <a:pt x="544" y="85137"/>
                    </a:cubicBezTo>
                    <a:cubicBezTo>
                      <a:pt x="544" y="70371"/>
                      <a:pt x="544" y="56152"/>
                      <a:pt x="544" y="41386"/>
                    </a:cubicBezTo>
                    <a:cubicBezTo>
                      <a:pt x="544" y="21698"/>
                      <a:pt x="15863" y="5291"/>
                      <a:pt x="32822" y="1463"/>
                    </a:cubicBezTo>
                    <a:cubicBezTo>
                      <a:pt x="36105" y="916"/>
                      <a:pt x="39935" y="369"/>
                      <a:pt x="43217" y="369"/>
                    </a:cubicBezTo>
                    <a:cubicBezTo>
                      <a:pt x="76590" y="369"/>
                      <a:pt x="109963" y="-178"/>
                      <a:pt x="143335" y="369"/>
                    </a:cubicBezTo>
                    <a:cubicBezTo>
                      <a:pt x="155918" y="369"/>
                      <a:pt x="166313" y="6932"/>
                      <a:pt x="173973" y="16776"/>
                    </a:cubicBezTo>
                    <a:cubicBezTo>
                      <a:pt x="173425" y="17323"/>
                      <a:pt x="173425" y="17323"/>
                      <a:pt x="173425" y="1841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5470" cap="flat">
                <a:solidFill>
                  <a:schemeClr val="accent5">
                    <a:lumMod val="50000"/>
                  </a:schemeClr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333" name="Group 332">
              <a:extLst>
                <a:ext uri="{FF2B5EF4-FFF2-40B4-BE49-F238E27FC236}">
                  <a16:creationId xmlns:a16="http://schemas.microsoft.com/office/drawing/2014/main" id="{95FCEE7D-DECC-4DAB-BE44-12E848214AE8}"/>
                </a:ext>
              </a:extLst>
            </p:cNvPr>
            <p:cNvGrpSpPr/>
            <p:nvPr/>
          </p:nvGrpSpPr>
          <p:grpSpPr>
            <a:xfrm>
              <a:off x="9357689" y="1970926"/>
              <a:ext cx="564960" cy="423243"/>
              <a:chOff x="460199" y="2195223"/>
              <a:chExt cx="849126" cy="577019"/>
            </a:xfrm>
          </p:grpSpPr>
          <p:sp>
            <p:nvSpPr>
              <p:cNvPr id="328" name="Freeform 806">
                <a:extLst>
                  <a:ext uri="{FF2B5EF4-FFF2-40B4-BE49-F238E27FC236}">
                    <a16:creationId xmlns:a16="http://schemas.microsoft.com/office/drawing/2014/main" id="{82BBB4E5-A27B-A44B-B435-7E08DAF6CEC4}"/>
                  </a:ext>
                </a:extLst>
              </p:cNvPr>
              <p:cNvSpPr/>
              <p:nvPr/>
            </p:nvSpPr>
            <p:spPr>
              <a:xfrm>
                <a:off x="743944" y="2394645"/>
                <a:ext cx="565381" cy="377597"/>
              </a:xfrm>
              <a:custGeom>
                <a:avLst/>
                <a:gdLst>
                  <a:gd name="connsiteX0" fmla="*/ 157814 w 171811"/>
                  <a:gd name="connsiteY0" fmla="*/ 29262 h 115940"/>
                  <a:gd name="connsiteX1" fmla="*/ 157814 w 171811"/>
                  <a:gd name="connsiteY1" fmla="*/ 22700 h 115940"/>
                  <a:gd name="connsiteX2" fmla="*/ 149608 w 171811"/>
                  <a:gd name="connsiteY2" fmla="*/ 14496 h 115940"/>
                  <a:gd name="connsiteX3" fmla="*/ 70279 w 171811"/>
                  <a:gd name="connsiteY3" fmla="*/ 14496 h 115940"/>
                  <a:gd name="connsiteX4" fmla="*/ 21041 w 171811"/>
                  <a:gd name="connsiteY4" fmla="*/ 14496 h 115940"/>
                  <a:gd name="connsiteX5" fmla="*/ 13928 w 171811"/>
                  <a:gd name="connsiteY5" fmla="*/ 19418 h 115940"/>
                  <a:gd name="connsiteX6" fmla="*/ 13928 w 171811"/>
                  <a:gd name="connsiteY6" fmla="*/ 29809 h 115940"/>
                  <a:gd name="connsiteX7" fmla="*/ 157814 w 171811"/>
                  <a:gd name="connsiteY7" fmla="*/ 29809 h 115940"/>
                  <a:gd name="connsiteX8" fmla="*/ 157814 w 171811"/>
                  <a:gd name="connsiteY8" fmla="*/ 29262 h 115940"/>
                  <a:gd name="connsiteX9" fmla="*/ 157814 w 171811"/>
                  <a:gd name="connsiteY9" fmla="*/ 53872 h 115940"/>
                  <a:gd name="connsiteX10" fmla="*/ 13928 w 171811"/>
                  <a:gd name="connsiteY10" fmla="*/ 53872 h 115940"/>
                  <a:gd name="connsiteX11" fmla="*/ 13928 w 171811"/>
                  <a:gd name="connsiteY11" fmla="*/ 56607 h 115940"/>
                  <a:gd name="connsiteX12" fmla="*/ 13928 w 171811"/>
                  <a:gd name="connsiteY12" fmla="*/ 95436 h 115940"/>
                  <a:gd name="connsiteX13" fmla="*/ 21588 w 171811"/>
                  <a:gd name="connsiteY13" fmla="*/ 103092 h 115940"/>
                  <a:gd name="connsiteX14" fmla="*/ 150702 w 171811"/>
                  <a:gd name="connsiteY14" fmla="*/ 103092 h 115940"/>
                  <a:gd name="connsiteX15" fmla="*/ 158361 w 171811"/>
                  <a:gd name="connsiteY15" fmla="*/ 95436 h 115940"/>
                  <a:gd name="connsiteX16" fmla="*/ 158361 w 171811"/>
                  <a:gd name="connsiteY16" fmla="*/ 57154 h 115940"/>
                  <a:gd name="connsiteX17" fmla="*/ 157814 w 171811"/>
                  <a:gd name="connsiteY17" fmla="*/ 53872 h 115940"/>
                  <a:gd name="connsiteX18" fmla="*/ 157814 w 171811"/>
                  <a:gd name="connsiteY18" fmla="*/ 53872 h 115940"/>
                  <a:gd name="connsiteX19" fmla="*/ 85598 w 171811"/>
                  <a:gd name="connsiteY19" fmla="*/ 116218 h 115940"/>
                  <a:gd name="connsiteX20" fmla="*/ 21041 w 171811"/>
                  <a:gd name="connsiteY20" fmla="*/ 116218 h 115940"/>
                  <a:gd name="connsiteX21" fmla="*/ 251 w 171811"/>
                  <a:gd name="connsiteY21" fmla="*/ 94889 h 115940"/>
                  <a:gd name="connsiteX22" fmla="*/ 251 w 171811"/>
                  <a:gd name="connsiteY22" fmla="*/ 21059 h 115940"/>
                  <a:gd name="connsiteX23" fmla="*/ 16664 w 171811"/>
                  <a:gd name="connsiteY23" fmla="*/ 824 h 115940"/>
                  <a:gd name="connsiteX24" fmla="*/ 21041 w 171811"/>
                  <a:gd name="connsiteY24" fmla="*/ 277 h 115940"/>
                  <a:gd name="connsiteX25" fmla="*/ 151249 w 171811"/>
                  <a:gd name="connsiteY25" fmla="*/ 277 h 115940"/>
                  <a:gd name="connsiteX26" fmla="*/ 172038 w 171811"/>
                  <a:gd name="connsiteY26" fmla="*/ 20512 h 115940"/>
                  <a:gd name="connsiteX27" fmla="*/ 172038 w 171811"/>
                  <a:gd name="connsiteY27" fmla="*/ 95436 h 115940"/>
                  <a:gd name="connsiteX28" fmla="*/ 151249 w 171811"/>
                  <a:gd name="connsiteY28" fmla="*/ 115671 h 115940"/>
                  <a:gd name="connsiteX29" fmla="*/ 85598 w 171811"/>
                  <a:gd name="connsiteY29" fmla="*/ 116218 h 115940"/>
                  <a:gd name="connsiteX30" fmla="*/ 85598 w 171811"/>
                  <a:gd name="connsiteY30" fmla="*/ 116218 h 115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71811" h="115940">
                    <a:moveTo>
                      <a:pt x="157814" y="29262"/>
                    </a:moveTo>
                    <a:lnTo>
                      <a:pt x="157814" y="22700"/>
                    </a:lnTo>
                    <a:cubicBezTo>
                      <a:pt x="157814" y="16137"/>
                      <a:pt x="156173" y="14496"/>
                      <a:pt x="149608" y="14496"/>
                    </a:cubicBezTo>
                    <a:lnTo>
                      <a:pt x="70279" y="14496"/>
                    </a:lnTo>
                    <a:cubicBezTo>
                      <a:pt x="53866" y="14496"/>
                      <a:pt x="37454" y="14496"/>
                      <a:pt x="21041" y="14496"/>
                    </a:cubicBezTo>
                    <a:cubicBezTo>
                      <a:pt x="17211" y="14496"/>
                      <a:pt x="14476" y="16137"/>
                      <a:pt x="13928" y="19418"/>
                    </a:cubicBezTo>
                    <a:cubicBezTo>
                      <a:pt x="13381" y="22700"/>
                      <a:pt x="13928" y="25981"/>
                      <a:pt x="13928" y="29809"/>
                    </a:cubicBezTo>
                    <a:lnTo>
                      <a:pt x="157814" y="29809"/>
                    </a:lnTo>
                    <a:lnTo>
                      <a:pt x="157814" y="29262"/>
                    </a:lnTo>
                    <a:close/>
                    <a:moveTo>
                      <a:pt x="157814" y="53872"/>
                    </a:moveTo>
                    <a:lnTo>
                      <a:pt x="13928" y="53872"/>
                    </a:lnTo>
                    <a:cubicBezTo>
                      <a:pt x="13928" y="54966"/>
                      <a:pt x="13928" y="55513"/>
                      <a:pt x="13928" y="56607"/>
                    </a:cubicBezTo>
                    <a:cubicBezTo>
                      <a:pt x="13928" y="69732"/>
                      <a:pt x="13928" y="82311"/>
                      <a:pt x="13928" y="95436"/>
                    </a:cubicBezTo>
                    <a:cubicBezTo>
                      <a:pt x="13928" y="100905"/>
                      <a:pt x="16117" y="103092"/>
                      <a:pt x="21588" y="103092"/>
                    </a:cubicBezTo>
                    <a:cubicBezTo>
                      <a:pt x="64808" y="103092"/>
                      <a:pt x="107481" y="103092"/>
                      <a:pt x="150702" y="103092"/>
                    </a:cubicBezTo>
                    <a:cubicBezTo>
                      <a:pt x="156720" y="103092"/>
                      <a:pt x="158361" y="100905"/>
                      <a:pt x="158361" y="95436"/>
                    </a:cubicBezTo>
                    <a:cubicBezTo>
                      <a:pt x="158361" y="82858"/>
                      <a:pt x="158361" y="70279"/>
                      <a:pt x="158361" y="57154"/>
                    </a:cubicBezTo>
                    <a:cubicBezTo>
                      <a:pt x="157814" y="55513"/>
                      <a:pt x="157814" y="54966"/>
                      <a:pt x="157814" y="53872"/>
                    </a:cubicBezTo>
                    <a:lnTo>
                      <a:pt x="157814" y="53872"/>
                    </a:lnTo>
                    <a:close/>
                    <a:moveTo>
                      <a:pt x="85598" y="116218"/>
                    </a:moveTo>
                    <a:lnTo>
                      <a:pt x="21041" y="116218"/>
                    </a:lnTo>
                    <a:cubicBezTo>
                      <a:pt x="8458" y="116218"/>
                      <a:pt x="-296" y="108015"/>
                      <a:pt x="251" y="94889"/>
                    </a:cubicBezTo>
                    <a:cubicBezTo>
                      <a:pt x="251" y="70279"/>
                      <a:pt x="251" y="45669"/>
                      <a:pt x="251" y="21059"/>
                    </a:cubicBezTo>
                    <a:cubicBezTo>
                      <a:pt x="251" y="10668"/>
                      <a:pt x="6816" y="3012"/>
                      <a:pt x="16664" y="824"/>
                    </a:cubicBezTo>
                    <a:cubicBezTo>
                      <a:pt x="17758" y="277"/>
                      <a:pt x="19399" y="277"/>
                      <a:pt x="21041" y="277"/>
                    </a:cubicBezTo>
                    <a:cubicBezTo>
                      <a:pt x="64261" y="277"/>
                      <a:pt x="108029" y="277"/>
                      <a:pt x="151249" y="277"/>
                    </a:cubicBezTo>
                    <a:cubicBezTo>
                      <a:pt x="163832" y="277"/>
                      <a:pt x="172038" y="8481"/>
                      <a:pt x="172038" y="20512"/>
                    </a:cubicBezTo>
                    <a:cubicBezTo>
                      <a:pt x="172038" y="45669"/>
                      <a:pt x="172038" y="70279"/>
                      <a:pt x="172038" y="95436"/>
                    </a:cubicBezTo>
                    <a:cubicBezTo>
                      <a:pt x="172038" y="107468"/>
                      <a:pt x="163832" y="115671"/>
                      <a:pt x="151249" y="115671"/>
                    </a:cubicBezTo>
                    <a:cubicBezTo>
                      <a:pt x="129365" y="116218"/>
                      <a:pt x="107481" y="116218"/>
                      <a:pt x="85598" y="116218"/>
                    </a:cubicBezTo>
                    <a:lnTo>
                      <a:pt x="85598" y="116218"/>
                    </a:lnTo>
                    <a:close/>
                  </a:path>
                </a:pathLst>
              </a:custGeom>
              <a:solidFill>
                <a:srgbClr val="FEFEFE"/>
              </a:solidFill>
              <a:ln w="547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7" name="Freeform 805">
                <a:extLst>
                  <a:ext uri="{FF2B5EF4-FFF2-40B4-BE49-F238E27FC236}">
                    <a16:creationId xmlns:a16="http://schemas.microsoft.com/office/drawing/2014/main" id="{77E5C2C6-C888-1C43-82E1-87CBEB47665D}"/>
                  </a:ext>
                </a:extLst>
              </p:cNvPr>
              <p:cNvSpPr/>
              <p:nvPr/>
            </p:nvSpPr>
            <p:spPr>
              <a:xfrm>
                <a:off x="460199" y="2195223"/>
                <a:ext cx="579251" cy="508648"/>
              </a:xfrm>
              <a:custGeom>
                <a:avLst/>
                <a:gdLst>
                  <a:gd name="connsiteX0" fmla="*/ 40559 w 176026"/>
                  <a:gd name="connsiteY0" fmla="*/ 98359 h 156179"/>
                  <a:gd name="connsiteX1" fmla="*/ 42200 w 176026"/>
                  <a:gd name="connsiteY1" fmla="*/ 98359 h 156179"/>
                  <a:gd name="connsiteX2" fmla="*/ 59160 w 176026"/>
                  <a:gd name="connsiteY2" fmla="*/ 92343 h 156179"/>
                  <a:gd name="connsiteX3" fmla="*/ 62989 w 176026"/>
                  <a:gd name="connsiteY3" fmla="*/ 83046 h 156179"/>
                  <a:gd name="connsiteX4" fmla="*/ 59160 w 176026"/>
                  <a:gd name="connsiteY4" fmla="*/ 72655 h 156179"/>
                  <a:gd name="connsiteX5" fmla="*/ 49312 w 176026"/>
                  <a:gd name="connsiteY5" fmla="*/ 68280 h 156179"/>
                  <a:gd name="connsiteX6" fmla="*/ 34541 w 176026"/>
                  <a:gd name="connsiteY6" fmla="*/ 73749 h 156179"/>
                  <a:gd name="connsiteX7" fmla="*/ 30164 w 176026"/>
                  <a:gd name="connsiteY7" fmla="*/ 83593 h 156179"/>
                  <a:gd name="connsiteX8" fmla="*/ 33993 w 176026"/>
                  <a:gd name="connsiteY8" fmla="*/ 93437 h 156179"/>
                  <a:gd name="connsiteX9" fmla="*/ 40559 w 176026"/>
                  <a:gd name="connsiteY9" fmla="*/ 98359 h 156179"/>
                  <a:gd name="connsiteX10" fmla="*/ 176238 w 176026"/>
                  <a:gd name="connsiteY10" fmla="*/ 50779 h 156179"/>
                  <a:gd name="connsiteX11" fmla="*/ 172408 w 176026"/>
                  <a:gd name="connsiteY11" fmla="*/ 50779 h 156179"/>
                  <a:gd name="connsiteX12" fmla="*/ 106210 w 176026"/>
                  <a:gd name="connsiteY12" fmla="*/ 50779 h 156179"/>
                  <a:gd name="connsiteX13" fmla="*/ 76667 w 176026"/>
                  <a:gd name="connsiteY13" fmla="*/ 74843 h 156179"/>
                  <a:gd name="connsiteX14" fmla="*/ 75573 w 176026"/>
                  <a:gd name="connsiteY14" fmla="*/ 83046 h 156179"/>
                  <a:gd name="connsiteX15" fmla="*/ 75573 w 176026"/>
                  <a:gd name="connsiteY15" fmla="*/ 103828 h 156179"/>
                  <a:gd name="connsiteX16" fmla="*/ 73384 w 176026"/>
                  <a:gd name="connsiteY16" fmla="*/ 106562 h 156179"/>
                  <a:gd name="connsiteX17" fmla="*/ 47671 w 176026"/>
                  <a:gd name="connsiteY17" fmla="*/ 115859 h 156179"/>
                  <a:gd name="connsiteX18" fmla="*/ 43841 w 176026"/>
                  <a:gd name="connsiteY18" fmla="*/ 121875 h 156179"/>
                  <a:gd name="connsiteX19" fmla="*/ 50953 w 176026"/>
                  <a:gd name="connsiteY19" fmla="*/ 125156 h 156179"/>
                  <a:gd name="connsiteX20" fmla="*/ 71743 w 176026"/>
                  <a:gd name="connsiteY20" fmla="*/ 117500 h 156179"/>
                  <a:gd name="connsiteX21" fmla="*/ 75573 w 176026"/>
                  <a:gd name="connsiteY21" fmla="*/ 116406 h 156179"/>
                  <a:gd name="connsiteX22" fmla="*/ 75573 w 176026"/>
                  <a:gd name="connsiteY22" fmla="*/ 124610 h 156179"/>
                  <a:gd name="connsiteX23" fmla="*/ 75573 w 176026"/>
                  <a:gd name="connsiteY23" fmla="*/ 144298 h 156179"/>
                  <a:gd name="connsiteX24" fmla="*/ 74478 w 176026"/>
                  <a:gd name="connsiteY24" fmla="*/ 147032 h 156179"/>
                  <a:gd name="connsiteX25" fmla="*/ 49859 w 176026"/>
                  <a:gd name="connsiteY25" fmla="*/ 155782 h 156179"/>
                  <a:gd name="connsiteX26" fmla="*/ 27428 w 176026"/>
                  <a:gd name="connsiteY26" fmla="*/ 143204 h 156179"/>
                  <a:gd name="connsiteX27" fmla="*/ 7733 w 176026"/>
                  <a:gd name="connsiteY27" fmla="*/ 89062 h 156179"/>
                  <a:gd name="connsiteX28" fmla="*/ 1715 w 176026"/>
                  <a:gd name="connsiteY28" fmla="*/ 72655 h 156179"/>
                  <a:gd name="connsiteX29" fmla="*/ 14298 w 176026"/>
                  <a:gd name="connsiteY29" fmla="*/ 45857 h 156179"/>
                  <a:gd name="connsiteX30" fmla="*/ 119340 w 176026"/>
                  <a:gd name="connsiteY30" fmla="*/ 7575 h 156179"/>
                  <a:gd name="connsiteX31" fmla="*/ 136847 w 176026"/>
                  <a:gd name="connsiteY31" fmla="*/ 1559 h 156179"/>
                  <a:gd name="connsiteX32" fmla="*/ 162560 w 176026"/>
                  <a:gd name="connsiteY32" fmla="*/ 13044 h 156179"/>
                  <a:gd name="connsiteX33" fmla="*/ 175691 w 176026"/>
                  <a:gd name="connsiteY33" fmla="*/ 49139 h 156179"/>
                  <a:gd name="connsiteX34" fmla="*/ 176238 w 176026"/>
                  <a:gd name="connsiteY34" fmla="*/ 50779 h 156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76026" h="156179">
                    <a:moveTo>
                      <a:pt x="40559" y="98359"/>
                    </a:moveTo>
                    <a:cubicBezTo>
                      <a:pt x="41106" y="98359"/>
                      <a:pt x="41653" y="98359"/>
                      <a:pt x="42200" y="98359"/>
                    </a:cubicBezTo>
                    <a:cubicBezTo>
                      <a:pt x="47671" y="96171"/>
                      <a:pt x="53689" y="94531"/>
                      <a:pt x="59160" y="92343"/>
                    </a:cubicBezTo>
                    <a:cubicBezTo>
                      <a:pt x="62442" y="90702"/>
                      <a:pt x="64084" y="86874"/>
                      <a:pt x="62989" y="83046"/>
                    </a:cubicBezTo>
                    <a:cubicBezTo>
                      <a:pt x="61895" y="79765"/>
                      <a:pt x="60801" y="75936"/>
                      <a:pt x="59160" y="72655"/>
                    </a:cubicBezTo>
                    <a:cubicBezTo>
                      <a:pt x="57518" y="68280"/>
                      <a:pt x="53689" y="66639"/>
                      <a:pt x="49312" y="68280"/>
                    </a:cubicBezTo>
                    <a:cubicBezTo>
                      <a:pt x="44388" y="69921"/>
                      <a:pt x="39464" y="71561"/>
                      <a:pt x="34541" y="73749"/>
                    </a:cubicBezTo>
                    <a:cubicBezTo>
                      <a:pt x="30164" y="75389"/>
                      <a:pt x="28522" y="79765"/>
                      <a:pt x="30164" y="83593"/>
                    </a:cubicBezTo>
                    <a:cubicBezTo>
                      <a:pt x="31258" y="86874"/>
                      <a:pt x="32352" y="90155"/>
                      <a:pt x="33993" y="93437"/>
                    </a:cubicBezTo>
                    <a:cubicBezTo>
                      <a:pt x="35088" y="96171"/>
                      <a:pt x="37276" y="97812"/>
                      <a:pt x="40559" y="98359"/>
                    </a:cubicBezTo>
                    <a:moveTo>
                      <a:pt x="176238" y="50779"/>
                    </a:moveTo>
                    <a:lnTo>
                      <a:pt x="172408" y="50779"/>
                    </a:lnTo>
                    <a:cubicBezTo>
                      <a:pt x="150524" y="50779"/>
                      <a:pt x="128093" y="50779"/>
                      <a:pt x="106210" y="50779"/>
                    </a:cubicBezTo>
                    <a:cubicBezTo>
                      <a:pt x="91985" y="50779"/>
                      <a:pt x="79949" y="60623"/>
                      <a:pt x="76667" y="74843"/>
                    </a:cubicBezTo>
                    <a:cubicBezTo>
                      <a:pt x="76120" y="77577"/>
                      <a:pt x="76120" y="80311"/>
                      <a:pt x="75573" y="83046"/>
                    </a:cubicBezTo>
                    <a:cubicBezTo>
                      <a:pt x="75573" y="90155"/>
                      <a:pt x="75573" y="96718"/>
                      <a:pt x="75573" y="103828"/>
                    </a:cubicBezTo>
                    <a:cubicBezTo>
                      <a:pt x="75573" y="105468"/>
                      <a:pt x="75025" y="106015"/>
                      <a:pt x="73384" y="106562"/>
                    </a:cubicBezTo>
                    <a:cubicBezTo>
                      <a:pt x="64631" y="109844"/>
                      <a:pt x="55877" y="112578"/>
                      <a:pt x="47671" y="115859"/>
                    </a:cubicBezTo>
                    <a:cubicBezTo>
                      <a:pt x="44388" y="116953"/>
                      <a:pt x="43294" y="119141"/>
                      <a:pt x="43841" y="121875"/>
                    </a:cubicBezTo>
                    <a:cubicBezTo>
                      <a:pt x="44935" y="125156"/>
                      <a:pt x="47671" y="126250"/>
                      <a:pt x="50953" y="125156"/>
                    </a:cubicBezTo>
                    <a:cubicBezTo>
                      <a:pt x="58066" y="122422"/>
                      <a:pt x="65178" y="120234"/>
                      <a:pt x="71743" y="117500"/>
                    </a:cubicBezTo>
                    <a:cubicBezTo>
                      <a:pt x="72837" y="116953"/>
                      <a:pt x="73931" y="116953"/>
                      <a:pt x="75573" y="116406"/>
                    </a:cubicBezTo>
                    <a:lnTo>
                      <a:pt x="75573" y="124610"/>
                    </a:lnTo>
                    <a:cubicBezTo>
                      <a:pt x="75573" y="131172"/>
                      <a:pt x="75573" y="137735"/>
                      <a:pt x="75573" y="144298"/>
                    </a:cubicBezTo>
                    <a:cubicBezTo>
                      <a:pt x="75573" y="145391"/>
                      <a:pt x="75025" y="146485"/>
                      <a:pt x="74478" y="147032"/>
                    </a:cubicBezTo>
                    <a:cubicBezTo>
                      <a:pt x="66272" y="149766"/>
                      <a:pt x="58613" y="153595"/>
                      <a:pt x="49859" y="155782"/>
                    </a:cubicBezTo>
                    <a:cubicBezTo>
                      <a:pt x="40011" y="158517"/>
                      <a:pt x="30711" y="152501"/>
                      <a:pt x="27428" y="143204"/>
                    </a:cubicBezTo>
                    <a:cubicBezTo>
                      <a:pt x="20863" y="125156"/>
                      <a:pt x="14298" y="107109"/>
                      <a:pt x="7733" y="89062"/>
                    </a:cubicBezTo>
                    <a:cubicBezTo>
                      <a:pt x="5545" y="83593"/>
                      <a:pt x="3903" y="78124"/>
                      <a:pt x="1715" y="72655"/>
                    </a:cubicBezTo>
                    <a:cubicBezTo>
                      <a:pt x="-2662" y="61170"/>
                      <a:pt x="2809" y="50233"/>
                      <a:pt x="14298" y="45857"/>
                    </a:cubicBezTo>
                    <a:cubicBezTo>
                      <a:pt x="49312" y="33279"/>
                      <a:pt x="84326" y="20154"/>
                      <a:pt x="119340" y="7575"/>
                    </a:cubicBezTo>
                    <a:cubicBezTo>
                      <a:pt x="125358" y="5388"/>
                      <a:pt x="130829" y="3200"/>
                      <a:pt x="136847" y="1559"/>
                    </a:cubicBezTo>
                    <a:cubicBezTo>
                      <a:pt x="147789" y="-2269"/>
                      <a:pt x="158731" y="2653"/>
                      <a:pt x="162560" y="13044"/>
                    </a:cubicBezTo>
                    <a:cubicBezTo>
                      <a:pt x="166937" y="25076"/>
                      <a:pt x="171314" y="37107"/>
                      <a:pt x="175691" y="49139"/>
                    </a:cubicBezTo>
                    <a:cubicBezTo>
                      <a:pt x="175691" y="49686"/>
                      <a:pt x="175691" y="50233"/>
                      <a:pt x="176238" y="50779"/>
                    </a:cubicBezTo>
                  </a:path>
                </a:pathLst>
              </a:custGeom>
              <a:solidFill>
                <a:srgbClr val="FEFEFE"/>
              </a:solidFill>
              <a:ln w="547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337" name="Picture 336" descr="Graphical user interface&#10;&#10;Description automatically generated">
              <a:extLst>
                <a:ext uri="{FF2B5EF4-FFF2-40B4-BE49-F238E27FC236}">
                  <a16:creationId xmlns:a16="http://schemas.microsoft.com/office/drawing/2014/main" id="{59C42F8B-4B22-4496-8E51-3C5C83CCA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140" y="1927741"/>
              <a:ext cx="862934" cy="584942"/>
            </a:xfrm>
            <a:prstGeom prst="rect">
              <a:avLst/>
            </a:prstGeom>
          </p:spPr>
        </p:pic>
        <p:pic>
          <p:nvPicPr>
            <p:cNvPr id="343" name="Picture 342" descr="A picture containing text, dark&#10;&#10;Description automatically generated">
              <a:extLst>
                <a:ext uri="{FF2B5EF4-FFF2-40B4-BE49-F238E27FC236}">
                  <a16:creationId xmlns:a16="http://schemas.microsoft.com/office/drawing/2014/main" id="{9197911C-2C20-4C48-BA83-96F52EDD7E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5413" y="3196579"/>
              <a:ext cx="221493" cy="246355"/>
            </a:xfrm>
            <a:prstGeom prst="rect">
              <a:avLst/>
            </a:prstGeom>
          </p:spPr>
        </p:pic>
        <p:pic>
          <p:nvPicPr>
            <p:cNvPr id="29702" name="Picture 6">
              <a:extLst>
                <a:ext uri="{FF2B5EF4-FFF2-40B4-BE49-F238E27FC236}">
                  <a16:creationId xmlns:a16="http://schemas.microsoft.com/office/drawing/2014/main" id="{FBA0FF50-D349-4463-A0D5-F757D29B3D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5079" y="2920799"/>
              <a:ext cx="595829" cy="595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06" name="Picture 10" descr="See the source image">
              <a:extLst>
                <a:ext uri="{FF2B5EF4-FFF2-40B4-BE49-F238E27FC236}">
                  <a16:creationId xmlns:a16="http://schemas.microsoft.com/office/drawing/2014/main" id="{9BA81D8C-82FB-426C-8404-60BA5EB17A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89844" y="2972081"/>
              <a:ext cx="588548" cy="5885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8" name="Rectangle 347">
              <a:extLst>
                <a:ext uri="{FF2B5EF4-FFF2-40B4-BE49-F238E27FC236}">
                  <a16:creationId xmlns:a16="http://schemas.microsoft.com/office/drawing/2014/main" id="{463C325B-279E-48EC-9E0C-B49716B6BEBB}"/>
                </a:ext>
              </a:extLst>
            </p:cNvPr>
            <p:cNvSpPr/>
            <p:nvPr/>
          </p:nvSpPr>
          <p:spPr>
            <a:xfrm>
              <a:off x="8814020" y="3665070"/>
              <a:ext cx="74606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raphQL</a:t>
              </a:r>
              <a:endParaRPr lang="en-US"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2" name="Rectangle 351">
              <a:extLst>
                <a:ext uri="{FF2B5EF4-FFF2-40B4-BE49-F238E27FC236}">
                  <a16:creationId xmlns:a16="http://schemas.microsoft.com/office/drawing/2014/main" id="{D240B07B-2247-4EF4-BB98-631FB8418BF3}"/>
                </a:ext>
              </a:extLst>
            </p:cNvPr>
            <p:cNvSpPr/>
            <p:nvPr/>
          </p:nvSpPr>
          <p:spPr>
            <a:xfrm>
              <a:off x="9716525" y="3661579"/>
              <a:ext cx="711769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ST</a:t>
              </a:r>
            </a:p>
          </p:txBody>
        </p:sp>
        <p:grpSp>
          <p:nvGrpSpPr>
            <p:cNvPr id="342" name="Group 341">
              <a:extLst>
                <a:ext uri="{FF2B5EF4-FFF2-40B4-BE49-F238E27FC236}">
                  <a16:creationId xmlns:a16="http://schemas.microsoft.com/office/drawing/2014/main" id="{37A8B163-7AEA-44DD-BC0F-1184D286EC51}"/>
                </a:ext>
              </a:extLst>
            </p:cNvPr>
            <p:cNvGrpSpPr/>
            <p:nvPr/>
          </p:nvGrpSpPr>
          <p:grpSpPr>
            <a:xfrm>
              <a:off x="9662554" y="3003535"/>
              <a:ext cx="758343" cy="483531"/>
              <a:chOff x="9529139" y="3174923"/>
              <a:chExt cx="758343" cy="483531"/>
            </a:xfrm>
          </p:grpSpPr>
          <p:pic>
            <p:nvPicPr>
              <p:cNvPr id="29716" name="Picture 20" descr="See the source image">
                <a:extLst>
                  <a:ext uri="{FF2B5EF4-FFF2-40B4-BE49-F238E27FC236}">
                    <a16:creationId xmlns:a16="http://schemas.microsoft.com/office/drawing/2014/main" id="{95CB054A-3F8B-423F-BE32-22E9F8E807D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29139" y="3174923"/>
                <a:ext cx="758343" cy="4835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5" name="Rectangle 354">
                <a:extLst>
                  <a:ext uri="{FF2B5EF4-FFF2-40B4-BE49-F238E27FC236}">
                    <a16:creationId xmlns:a16="http://schemas.microsoft.com/office/drawing/2014/main" id="{C9B38C57-118A-44BA-9033-A11DAB1985B2}"/>
                  </a:ext>
                </a:extLst>
              </p:cNvPr>
              <p:cNvSpPr/>
              <p:nvPr/>
            </p:nvSpPr>
            <p:spPr>
              <a:xfrm>
                <a:off x="9713327" y="3286356"/>
                <a:ext cx="40436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…</a:t>
                </a:r>
              </a:p>
            </p:txBody>
          </p:sp>
        </p:grpSp>
        <p:pic>
          <p:nvPicPr>
            <p:cNvPr id="29718" name="Picture 22" descr="See the source image">
              <a:extLst>
                <a:ext uri="{FF2B5EF4-FFF2-40B4-BE49-F238E27FC236}">
                  <a16:creationId xmlns:a16="http://schemas.microsoft.com/office/drawing/2014/main" id="{6DD69AF6-D02D-4852-A16E-985310C576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9696" y="1978586"/>
              <a:ext cx="554456" cy="5544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9" name="TextBox 358">
              <a:extLst>
                <a:ext uri="{FF2B5EF4-FFF2-40B4-BE49-F238E27FC236}">
                  <a16:creationId xmlns:a16="http://schemas.microsoft.com/office/drawing/2014/main" id="{5E640641-850D-45D2-A4C4-E4C926EF612C}"/>
                </a:ext>
              </a:extLst>
            </p:cNvPr>
            <p:cNvSpPr txBox="1"/>
            <p:nvPr/>
          </p:nvSpPr>
          <p:spPr>
            <a:xfrm>
              <a:off x="5156446" y="2537254"/>
              <a:ext cx="72616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bile App</a:t>
              </a:r>
            </a:p>
          </p:txBody>
        </p:sp>
        <p:pic>
          <p:nvPicPr>
            <p:cNvPr id="29720" name="Picture 24" descr="See the source image">
              <a:extLst>
                <a:ext uri="{FF2B5EF4-FFF2-40B4-BE49-F238E27FC236}">
                  <a16:creationId xmlns:a16="http://schemas.microsoft.com/office/drawing/2014/main" id="{B3858357-4F54-49E2-9111-7B9DD9D2B8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6533" y="1923502"/>
              <a:ext cx="404893" cy="4352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22" name="Picture 26" descr="See the source image">
              <a:extLst>
                <a:ext uri="{FF2B5EF4-FFF2-40B4-BE49-F238E27FC236}">
                  <a16:creationId xmlns:a16="http://schemas.microsoft.com/office/drawing/2014/main" id="{5CC76599-C787-4E74-9A14-5AB760031F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4277" y="1926433"/>
              <a:ext cx="513608" cy="4464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2" name="TextBox 361">
              <a:extLst>
                <a:ext uri="{FF2B5EF4-FFF2-40B4-BE49-F238E27FC236}">
                  <a16:creationId xmlns:a16="http://schemas.microsoft.com/office/drawing/2014/main" id="{BABD531C-7B1D-4960-BAE7-E6B5C7EDFBD8}"/>
                </a:ext>
              </a:extLst>
            </p:cNvPr>
            <p:cNvSpPr txBox="1"/>
            <p:nvPr/>
          </p:nvSpPr>
          <p:spPr>
            <a:xfrm>
              <a:off x="1415023" y="2475808"/>
              <a:ext cx="484107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gular</a:t>
              </a:r>
            </a:p>
          </p:txBody>
        </p:sp>
        <p:sp>
          <p:nvSpPr>
            <p:cNvPr id="363" name="TextBox 362">
              <a:extLst>
                <a:ext uri="{FF2B5EF4-FFF2-40B4-BE49-F238E27FC236}">
                  <a16:creationId xmlns:a16="http://schemas.microsoft.com/office/drawing/2014/main" id="{C0F202DF-3874-42A2-8A12-740C49A097B9}"/>
                </a:ext>
              </a:extLst>
            </p:cNvPr>
            <p:cNvSpPr txBox="1"/>
            <p:nvPr/>
          </p:nvSpPr>
          <p:spPr>
            <a:xfrm>
              <a:off x="2484005" y="2482654"/>
              <a:ext cx="34836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a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335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A412B-F716-421C-B3D7-A95A9A664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690" y="100388"/>
            <a:ext cx="9696932" cy="545527"/>
          </a:xfrm>
        </p:spPr>
        <p:txBody>
          <a:bodyPr/>
          <a:lstStyle/>
          <a:p>
            <a:r>
              <a:rPr lang="en-GB" dirty="0"/>
              <a:t>Logical Architecture: New Public Web</a:t>
            </a:r>
          </a:p>
        </p:txBody>
      </p:sp>
      <p:sp>
        <p:nvSpPr>
          <p:cNvPr id="284" name="Freeform 30">
            <a:extLst>
              <a:ext uri="{FF2B5EF4-FFF2-40B4-BE49-F238E27FC236}">
                <a16:creationId xmlns:a16="http://schemas.microsoft.com/office/drawing/2014/main" id="{7991250C-CC80-7241-A0C3-BC12A7A5F5F7}"/>
              </a:ext>
            </a:extLst>
          </p:cNvPr>
          <p:cNvSpPr/>
          <p:nvPr/>
        </p:nvSpPr>
        <p:spPr>
          <a:xfrm>
            <a:off x="8858304" y="68037"/>
            <a:ext cx="1418066" cy="83674"/>
          </a:xfrm>
          <a:custGeom>
            <a:avLst/>
            <a:gdLst>
              <a:gd name="connsiteX0" fmla="*/ 886 w 1418065"/>
              <a:gd name="connsiteY0" fmla="*/ 339 h 83674"/>
              <a:gd name="connsiteX1" fmla="*/ 1418951 w 1418065"/>
              <a:gd name="connsiteY1" fmla="*/ 339 h 83674"/>
              <a:gd name="connsiteX2" fmla="*/ 1418951 w 1418065"/>
              <a:gd name="connsiteY2" fmla="*/ 84013 h 83674"/>
              <a:gd name="connsiteX3" fmla="*/ 886 w 1418065"/>
              <a:gd name="connsiteY3" fmla="*/ 84013 h 83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8065" h="83674">
                <a:moveTo>
                  <a:pt x="886" y="339"/>
                </a:moveTo>
                <a:lnTo>
                  <a:pt x="1418951" y="339"/>
                </a:lnTo>
                <a:lnTo>
                  <a:pt x="1418951" y="84013"/>
                </a:lnTo>
                <a:lnTo>
                  <a:pt x="886" y="84013"/>
                </a:lnTo>
                <a:close/>
              </a:path>
            </a:pathLst>
          </a:custGeom>
          <a:noFill/>
          <a:ln w="5470" cap="flat">
            <a:noFill/>
            <a:prstDash val="solid"/>
            <a:miter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36221D4-06C8-4706-B1BF-6209C3FE3F65}"/>
              </a:ext>
            </a:extLst>
          </p:cNvPr>
          <p:cNvGrpSpPr/>
          <p:nvPr/>
        </p:nvGrpSpPr>
        <p:grpSpPr>
          <a:xfrm>
            <a:off x="1146974" y="1027673"/>
            <a:ext cx="9176094" cy="5566855"/>
            <a:chOff x="1100276" y="1017040"/>
            <a:chExt cx="9176094" cy="5566855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36BB5651-E5A2-48D8-BA89-B48A1E106657}"/>
                </a:ext>
              </a:extLst>
            </p:cNvPr>
            <p:cNvSpPr txBox="1"/>
            <p:nvPr/>
          </p:nvSpPr>
          <p:spPr>
            <a:xfrm>
              <a:off x="6171169" y="1270380"/>
              <a:ext cx="102111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ew Public Web</a:t>
              </a:r>
            </a:p>
          </p:txBody>
        </p:sp>
        <p:pic>
          <p:nvPicPr>
            <p:cNvPr id="235" name="Graphic 234">
              <a:extLst>
                <a:ext uri="{FF2B5EF4-FFF2-40B4-BE49-F238E27FC236}">
                  <a16:creationId xmlns:a16="http://schemas.microsoft.com/office/drawing/2014/main" id="{FC332765-42E1-4E7E-B25D-C7865C6FC6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49822" b="3361"/>
            <a:stretch/>
          </p:blipFill>
          <p:spPr>
            <a:xfrm>
              <a:off x="1353681" y="3719205"/>
              <a:ext cx="991556" cy="417548"/>
            </a:xfrm>
            <a:prstGeom prst="rect">
              <a:avLst/>
            </a:prstGeom>
          </p:spPr>
        </p:pic>
        <p:pic>
          <p:nvPicPr>
            <p:cNvPr id="337" name="Picture 336" descr="Graphical user interface&#10;&#10;Description automatically generated">
              <a:extLst>
                <a:ext uri="{FF2B5EF4-FFF2-40B4-BE49-F238E27FC236}">
                  <a16:creationId xmlns:a16="http://schemas.microsoft.com/office/drawing/2014/main" id="{59C42F8B-4B22-4496-8E51-3C5C83CCA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5855" y="1017040"/>
              <a:ext cx="862934" cy="584942"/>
            </a:xfrm>
            <a:prstGeom prst="rect">
              <a:avLst/>
            </a:prstGeom>
          </p:spPr>
        </p:pic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6D447B9-77B5-4A04-918F-AE5668A13AF8}"/>
                </a:ext>
              </a:extLst>
            </p:cNvPr>
            <p:cNvCxnSpPr>
              <a:cxnSpLocks/>
            </p:cNvCxnSpPr>
            <p:nvPr/>
          </p:nvCxnSpPr>
          <p:spPr>
            <a:xfrm>
              <a:off x="1132370" y="2306500"/>
              <a:ext cx="9144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998653B-E769-4645-B902-FD3DA179E25D}"/>
                </a:ext>
              </a:extLst>
            </p:cNvPr>
            <p:cNvGrpSpPr/>
            <p:nvPr/>
          </p:nvGrpSpPr>
          <p:grpSpPr>
            <a:xfrm>
              <a:off x="6052919" y="2318788"/>
              <a:ext cx="1808915" cy="2319267"/>
              <a:chOff x="4644692" y="1911348"/>
              <a:chExt cx="1808915" cy="2319267"/>
            </a:xfrm>
          </p:grpSpPr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4FAAD3D6-107F-4B0F-B010-1418C497EC92}"/>
                  </a:ext>
                </a:extLst>
              </p:cNvPr>
              <p:cNvSpPr txBox="1"/>
              <p:nvPr/>
            </p:nvSpPr>
            <p:spPr>
              <a:xfrm>
                <a:off x="5010027" y="2113690"/>
                <a:ext cx="861390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atic content</a:t>
                </a:r>
              </a:p>
            </p:txBody>
          </p:sp>
          <p:pic>
            <p:nvPicPr>
              <p:cNvPr id="30726" name="Picture 6" descr="See the source image">
                <a:extLst>
                  <a:ext uri="{FF2B5EF4-FFF2-40B4-BE49-F238E27FC236}">
                    <a16:creationId xmlns:a16="http://schemas.microsoft.com/office/drawing/2014/main" id="{7F4A7502-04CE-4827-B527-D5D698D230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75391" y="2361038"/>
                <a:ext cx="487955" cy="4228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734" name="Picture 14" descr="See the source image">
                <a:extLst>
                  <a:ext uri="{FF2B5EF4-FFF2-40B4-BE49-F238E27FC236}">
                    <a16:creationId xmlns:a16="http://schemas.microsoft.com/office/drawing/2014/main" id="{7B747E68-F48D-448F-B124-769013DD87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163" t="7131" r="17433" b="7217"/>
              <a:stretch/>
            </p:blipFill>
            <p:spPr bwMode="auto">
              <a:xfrm>
                <a:off x="4726542" y="2407651"/>
                <a:ext cx="264867" cy="3522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736" name="Picture 16" descr="See the source image">
                <a:extLst>
                  <a:ext uri="{FF2B5EF4-FFF2-40B4-BE49-F238E27FC236}">
                    <a16:creationId xmlns:a16="http://schemas.microsoft.com/office/drawing/2014/main" id="{30819C05-EB8B-43AD-9AE3-9FD1C74CF5E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721" t="10449" r="13824" b="10495"/>
              <a:stretch/>
            </p:blipFill>
            <p:spPr bwMode="auto">
              <a:xfrm>
                <a:off x="5749597" y="2414960"/>
                <a:ext cx="313718" cy="33763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ACE7509B-704A-4C3F-85B4-DB078F79BBC7}"/>
                  </a:ext>
                </a:extLst>
              </p:cNvPr>
              <p:cNvGrpSpPr/>
              <p:nvPr/>
            </p:nvGrpSpPr>
            <p:grpSpPr>
              <a:xfrm>
                <a:off x="4644692" y="1911348"/>
                <a:ext cx="1808915" cy="2319267"/>
                <a:chOff x="4644692" y="1911348"/>
                <a:chExt cx="1808915" cy="2319267"/>
              </a:xfrm>
            </p:grpSpPr>
            <p:pic>
              <p:nvPicPr>
                <p:cNvPr id="30724" name="Picture 4" descr="See the source image">
                  <a:extLst>
                    <a:ext uri="{FF2B5EF4-FFF2-40B4-BE49-F238E27FC236}">
                      <a16:creationId xmlns:a16="http://schemas.microsoft.com/office/drawing/2014/main" id="{44C0386F-43F1-4483-AA0A-017FA3CDAC5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97735" y="3314149"/>
                  <a:ext cx="644271" cy="64427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05" name="Rectangle: Rounded Corners 204">
                  <a:extLst>
                    <a:ext uri="{FF2B5EF4-FFF2-40B4-BE49-F238E27FC236}">
                      <a16:creationId xmlns:a16="http://schemas.microsoft.com/office/drawing/2014/main" id="{F7954122-74CB-40FA-AAC0-EFBA2F519000}"/>
                    </a:ext>
                  </a:extLst>
                </p:cNvPr>
                <p:cNvSpPr/>
                <p:nvPr/>
              </p:nvSpPr>
              <p:spPr>
                <a:xfrm>
                  <a:off x="4644692" y="2095213"/>
                  <a:ext cx="1550355" cy="883330"/>
                </a:xfrm>
                <a:prstGeom prst="roundRect">
                  <a:avLst/>
                </a:prstGeom>
                <a:noFill/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207" name="Straight Connector 206">
                  <a:extLst>
                    <a:ext uri="{FF2B5EF4-FFF2-40B4-BE49-F238E27FC236}">
                      <a16:creationId xmlns:a16="http://schemas.microsoft.com/office/drawing/2014/main" id="{0254AD86-844B-4C0F-808A-DA90BB97F5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84802" y="2984244"/>
                  <a:ext cx="0" cy="31630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376ADB9C-CDAE-4527-B8F5-6E29DBD40B8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70423" y="1911348"/>
                  <a:ext cx="0" cy="18558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5" name="TextBox 214">
                  <a:extLst>
                    <a:ext uri="{FF2B5EF4-FFF2-40B4-BE49-F238E27FC236}">
                      <a16:creationId xmlns:a16="http://schemas.microsoft.com/office/drawing/2014/main" id="{F02EDE8E-EE2E-459B-B3BA-F804D7FDE7C3}"/>
                    </a:ext>
                  </a:extLst>
                </p:cNvPr>
                <p:cNvSpPr txBox="1"/>
                <p:nvPr/>
              </p:nvSpPr>
              <p:spPr>
                <a:xfrm>
                  <a:off x="5785219" y="3540505"/>
                  <a:ext cx="668388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sz="1200" dirty="0">
                      <a:solidFill>
                        <a:srgbClr val="2D2D2A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Dispatcher</a:t>
                  </a:r>
                </a:p>
              </p:txBody>
            </p:sp>
            <p:cxnSp>
              <p:nvCxnSpPr>
                <p:cNvPr id="220" name="Straight Connector 219">
                  <a:extLst>
                    <a:ext uri="{FF2B5EF4-FFF2-40B4-BE49-F238E27FC236}">
                      <a16:creationId xmlns:a16="http://schemas.microsoft.com/office/drawing/2014/main" id="{EBE44773-24B4-45E7-91B9-95E29C8210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70423" y="3922598"/>
                  <a:ext cx="0" cy="30801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04CA0A1-F245-41DE-92AE-89D97ACDD563}"/>
                </a:ext>
              </a:extLst>
            </p:cNvPr>
            <p:cNvGrpSpPr/>
            <p:nvPr/>
          </p:nvGrpSpPr>
          <p:grpSpPr>
            <a:xfrm>
              <a:off x="6505962" y="4964214"/>
              <a:ext cx="1510075" cy="1619681"/>
              <a:chOff x="5067563" y="4968252"/>
              <a:chExt cx="1510075" cy="1619681"/>
            </a:xfrm>
          </p:grpSpPr>
          <p:pic>
            <p:nvPicPr>
              <p:cNvPr id="159" name="Picture 158">
                <a:extLst>
                  <a:ext uri="{FF2B5EF4-FFF2-40B4-BE49-F238E27FC236}">
                    <a16:creationId xmlns:a16="http://schemas.microsoft.com/office/drawing/2014/main" id="{91AF7CDF-23F1-4E84-8A76-672997D780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070086" y="4968252"/>
                <a:ext cx="587774" cy="587774"/>
              </a:xfrm>
              <a:prstGeom prst="rect">
                <a:avLst/>
              </a:prstGeom>
            </p:spPr>
          </p:pic>
          <p:pic>
            <p:nvPicPr>
              <p:cNvPr id="203" name="Picture 202">
                <a:extLst>
                  <a:ext uri="{FF2B5EF4-FFF2-40B4-BE49-F238E27FC236}">
                    <a16:creationId xmlns:a16="http://schemas.microsoft.com/office/drawing/2014/main" id="{808AFEF5-A0F9-409F-83D0-707FFE8A21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067563" y="6000159"/>
                <a:ext cx="587774" cy="587774"/>
              </a:xfrm>
              <a:prstGeom prst="rect">
                <a:avLst/>
              </a:prstGeom>
            </p:spPr>
          </p:pic>
          <p:sp>
            <p:nvSpPr>
              <p:cNvPr id="216" name="TextBox 215">
                <a:extLst>
                  <a:ext uri="{FF2B5EF4-FFF2-40B4-BE49-F238E27FC236}">
                    <a16:creationId xmlns:a16="http://schemas.microsoft.com/office/drawing/2014/main" id="{D2855CF8-21E4-4C49-A140-51DF2AB6C927}"/>
                  </a:ext>
                </a:extLst>
              </p:cNvPr>
              <p:cNvSpPr txBox="1"/>
              <p:nvPr/>
            </p:nvSpPr>
            <p:spPr>
              <a:xfrm>
                <a:off x="5793769" y="5125011"/>
                <a:ext cx="78386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EM Publish</a:t>
                </a:r>
              </a:p>
            </p:txBody>
          </p:sp>
          <p:sp>
            <p:nvSpPr>
              <p:cNvPr id="217" name="TextBox 216">
                <a:extLst>
                  <a:ext uri="{FF2B5EF4-FFF2-40B4-BE49-F238E27FC236}">
                    <a16:creationId xmlns:a16="http://schemas.microsoft.com/office/drawing/2014/main" id="{29010D4F-E013-4158-9254-4F3A80C38397}"/>
                  </a:ext>
                </a:extLst>
              </p:cNvPr>
              <p:cNvSpPr txBox="1"/>
              <p:nvPr/>
            </p:nvSpPr>
            <p:spPr>
              <a:xfrm>
                <a:off x="5801785" y="6188682"/>
                <a:ext cx="76783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EM Author</a:t>
                </a:r>
              </a:p>
            </p:txBody>
          </p: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F80C12C5-D8BA-433E-9584-45476E6B26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46783" y="5617509"/>
                <a:ext cx="0" cy="31630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5903EF27-3769-4317-9EE5-87677905B74B}"/>
                </a:ext>
              </a:extLst>
            </p:cNvPr>
            <p:cNvCxnSpPr>
              <a:cxnSpLocks/>
            </p:cNvCxnSpPr>
            <p:nvPr/>
          </p:nvCxnSpPr>
          <p:spPr>
            <a:xfrm>
              <a:off x="4293600" y="4638055"/>
              <a:ext cx="248104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35DBB89D-4F3C-437F-8659-F0375D81AC51}"/>
                </a:ext>
              </a:extLst>
            </p:cNvPr>
            <p:cNvGrpSpPr/>
            <p:nvPr/>
          </p:nvGrpSpPr>
          <p:grpSpPr>
            <a:xfrm>
              <a:off x="3509282" y="2306500"/>
              <a:ext cx="1550357" cy="2337474"/>
              <a:chOff x="7107380" y="1899156"/>
              <a:chExt cx="1550357" cy="2337474"/>
            </a:xfrm>
          </p:grpSpPr>
          <p:pic>
            <p:nvPicPr>
              <p:cNvPr id="29720" name="Picture 24" descr="See the source image">
                <a:extLst>
                  <a:ext uri="{FF2B5EF4-FFF2-40B4-BE49-F238E27FC236}">
                    <a16:creationId xmlns:a16="http://schemas.microsoft.com/office/drawing/2014/main" id="{B3858357-4F54-49E2-9111-7B9DD9D2B8E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14668" y="2363163"/>
                <a:ext cx="354060" cy="38057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62" name="TextBox 361">
                <a:extLst>
                  <a:ext uri="{FF2B5EF4-FFF2-40B4-BE49-F238E27FC236}">
                    <a16:creationId xmlns:a16="http://schemas.microsoft.com/office/drawing/2014/main" id="{BABD531C-7B1D-4960-BAE7-E6B5C7EDFBD8}"/>
                  </a:ext>
                </a:extLst>
              </p:cNvPr>
              <p:cNvSpPr txBox="1"/>
              <p:nvPr/>
            </p:nvSpPr>
            <p:spPr>
              <a:xfrm>
                <a:off x="7289253" y="2097766"/>
                <a:ext cx="1112292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DX components</a:t>
                </a:r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BEA57A02-3930-4262-9EAA-4BBBBE86E994}"/>
                  </a:ext>
                </a:extLst>
              </p:cNvPr>
              <p:cNvGrpSpPr/>
              <p:nvPr/>
            </p:nvGrpSpPr>
            <p:grpSpPr>
              <a:xfrm>
                <a:off x="7107381" y="3164333"/>
                <a:ext cx="1550356" cy="883330"/>
                <a:chOff x="5309620" y="3544981"/>
                <a:chExt cx="1550356" cy="883330"/>
              </a:xfrm>
            </p:grpSpPr>
            <p:pic>
              <p:nvPicPr>
                <p:cNvPr id="29706" name="Picture 10" descr="See the source image">
                  <a:extLst>
                    <a:ext uri="{FF2B5EF4-FFF2-40B4-BE49-F238E27FC236}">
                      <a16:creationId xmlns:a16="http://schemas.microsoft.com/office/drawing/2014/main" id="{9BA81D8C-82FB-426C-8404-60BA5EB17A6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449824" y="3609573"/>
                  <a:ext cx="481116" cy="48111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48" name="Rectangle 347">
                  <a:extLst>
                    <a:ext uri="{FF2B5EF4-FFF2-40B4-BE49-F238E27FC236}">
                      <a16:creationId xmlns:a16="http://schemas.microsoft.com/office/drawing/2014/main" id="{463C325B-279E-48EC-9E0C-B49716B6BEBB}"/>
                    </a:ext>
                  </a:extLst>
                </p:cNvPr>
                <p:cNvSpPr/>
                <p:nvPr/>
              </p:nvSpPr>
              <p:spPr>
                <a:xfrm>
                  <a:off x="5312357" y="4105700"/>
                  <a:ext cx="746063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GB" sz="1200" dirty="0">
                      <a:solidFill>
                        <a:srgbClr val="2D2D2A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GraphQL</a:t>
                  </a:r>
                  <a:endPara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2" name="Rectangle 351">
                  <a:extLst>
                    <a:ext uri="{FF2B5EF4-FFF2-40B4-BE49-F238E27FC236}">
                      <a16:creationId xmlns:a16="http://schemas.microsoft.com/office/drawing/2014/main" id="{D240B07B-2247-4EF4-BB98-631FB8418BF3}"/>
                    </a:ext>
                  </a:extLst>
                </p:cNvPr>
                <p:cNvSpPr/>
                <p:nvPr/>
              </p:nvSpPr>
              <p:spPr>
                <a:xfrm>
                  <a:off x="6148207" y="4100543"/>
                  <a:ext cx="711769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2D2D2A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REST</a:t>
                  </a:r>
                </a:p>
              </p:txBody>
            </p:sp>
            <p:grpSp>
              <p:nvGrpSpPr>
                <p:cNvPr id="342" name="Group 341">
                  <a:extLst>
                    <a:ext uri="{FF2B5EF4-FFF2-40B4-BE49-F238E27FC236}">
                      <a16:creationId xmlns:a16="http://schemas.microsoft.com/office/drawing/2014/main" id="{37A8B163-7AEA-44DD-BC0F-1184D286EC51}"/>
                    </a:ext>
                  </a:extLst>
                </p:cNvPr>
                <p:cNvGrpSpPr/>
                <p:nvPr/>
              </p:nvGrpSpPr>
              <p:grpSpPr>
                <a:xfrm>
                  <a:off x="6101633" y="3616809"/>
                  <a:ext cx="758343" cy="483531"/>
                  <a:chOff x="9529139" y="3174923"/>
                  <a:chExt cx="758343" cy="483531"/>
                </a:xfrm>
              </p:grpSpPr>
              <p:pic>
                <p:nvPicPr>
                  <p:cNvPr id="29716" name="Picture 20" descr="See the source image">
                    <a:extLst>
                      <a:ext uri="{FF2B5EF4-FFF2-40B4-BE49-F238E27FC236}">
                        <a16:creationId xmlns:a16="http://schemas.microsoft.com/office/drawing/2014/main" id="{95CB054A-3F8B-423F-BE32-22E9F8E807D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9529139" y="3174923"/>
                    <a:ext cx="758343" cy="48353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355" name="Rectangle 354">
                    <a:extLst>
                      <a:ext uri="{FF2B5EF4-FFF2-40B4-BE49-F238E27FC236}">
                        <a16:creationId xmlns:a16="http://schemas.microsoft.com/office/drawing/2014/main" id="{C9B38C57-118A-44BA-9033-A11DAB1985B2}"/>
                      </a:ext>
                    </a:extLst>
                  </p:cNvPr>
                  <p:cNvSpPr/>
                  <p:nvPr/>
                </p:nvSpPr>
                <p:spPr>
                  <a:xfrm>
                    <a:off x="9713327" y="3286356"/>
                    <a:ext cx="404360" cy="276999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sz="1200" b="1" dirty="0">
                        <a:solidFill>
                          <a:srgbClr val="2D2D2A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…</a:t>
                    </a:r>
                  </a:p>
                </p:txBody>
              </p:sp>
            </p:grpSp>
            <p:sp>
              <p:nvSpPr>
                <p:cNvPr id="3" name="Rectangle: Rounded Corners 2">
                  <a:extLst>
                    <a:ext uri="{FF2B5EF4-FFF2-40B4-BE49-F238E27FC236}">
                      <a16:creationId xmlns:a16="http://schemas.microsoft.com/office/drawing/2014/main" id="{D02E0302-5B1F-4F73-9934-B13DE8605EC5}"/>
                    </a:ext>
                  </a:extLst>
                </p:cNvPr>
                <p:cNvSpPr/>
                <p:nvPr/>
              </p:nvSpPr>
              <p:spPr>
                <a:xfrm>
                  <a:off x="5309620" y="3544981"/>
                  <a:ext cx="1550356" cy="883330"/>
                </a:xfrm>
                <a:prstGeom prst="roundRect">
                  <a:avLst/>
                </a:prstGeom>
                <a:noFill/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</p:grpSp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1685A3C7-C747-4DC7-81EC-A53A1C5E7207}"/>
                  </a:ext>
                </a:extLst>
              </p:cNvPr>
              <p:cNvSpPr txBox="1"/>
              <p:nvPr/>
            </p:nvSpPr>
            <p:spPr>
              <a:xfrm>
                <a:off x="7657340" y="2758751"/>
                <a:ext cx="48410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ngular</a:t>
                </a:r>
              </a:p>
            </p:txBody>
          </p:sp>
          <p:sp>
            <p:nvSpPr>
              <p:cNvPr id="195" name="Rectangle: Rounded Corners 194">
                <a:extLst>
                  <a:ext uri="{FF2B5EF4-FFF2-40B4-BE49-F238E27FC236}">
                    <a16:creationId xmlns:a16="http://schemas.microsoft.com/office/drawing/2014/main" id="{7325FA65-3C92-40AD-9913-A08D0ADD0861}"/>
                  </a:ext>
                </a:extLst>
              </p:cNvPr>
              <p:cNvSpPr/>
              <p:nvPr/>
            </p:nvSpPr>
            <p:spPr>
              <a:xfrm>
                <a:off x="7107380" y="2084742"/>
                <a:ext cx="1550355" cy="883330"/>
              </a:xfrm>
              <a:prstGeom prst="roundRect">
                <a:avLst/>
              </a:prstGeom>
              <a:noFill/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B1E7CE22-1C16-45A4-8535-1FC4280CEA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45399" y="1899156"/>
                <a:ext cx="0" cy="18558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F3F7C84B-A679-4478-A271-918897E830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78927" y="2975100"/>
                <a:ext cx="0" cy="18558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3AF47DC4-60B6-4181-985B-7F8CA6B393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94167" y="4051044"/>
                <a:ext cx="0" cy="18558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B5FE996B-0104-474A-A077-619FF7F5EE1B}"/>
                </a:ext>
              </a:extLst>
            </p:cNvPr>
            <p:cNvCxnSpPr>
              <a:cxnSpLocks/>
            </p:cNvCxnSpPr>
            <p:nvPr/>
          </p:nvCxnSpPr>
          <p:spPr>
            <a:xfrm>
              <a:off x="1863737" y="2306596"/>
              <a:ext cx="0" cy="18558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0F679B4-2308-4D93-AEBF-10817B172A36}"/>
                </a:ext>
              </a:extLst>
            </p:cNvPr>
            <p:cNvGrpSpPr/>
            <p:nvPr/>
          </p:nvGrpSpPr>
          <p:grpSpPr>
            <a:xfrm>
              <a:off x="1100276" y="2499704"/>
              <a:ext cx="1550355" cy="883330"/>
              <a:chOff x="2217330" y="2101408"/>
              <a:chExt cx="1550355" cy="883330"/>
            </a:xfrm>
          </p:grpSpPr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9F6B6D73-9411-4801-BBAA-AD4694376A48}"/>
                  </a:ext>
                </a:extLst>
              </p:cNvPr>
              <p:cNvGrpSpPr/>
              <p:nvPr/>
            </p:nvGrpSpPr>
            <p:grpSpPr>
              <a:xfrm>
                <a:off x="2325517" y="2398266"/>
                <a:ext cx="353668" cy="440818"/>
                <a:chOff x="7220346" y="307887"/>
                <a:chExt cx="1155654" cy="1440428"/>
              </a:xfrm>
            </p:grpSpPr>
            <p:sp>
              <p:nvSpPr>
                <p:cNvPr id="128" name="Rectangle 17">
                  <a:extLst>
                    <a:ext uri="{FF2B5EF4-FFF2-40B4-BE49-F238E27FC236}">
                      <a16:creationId xmlns:a16="http://schemas.microsoft.com/office/drawing/2014/main" id="{646AABA3-FBD9-4EE4-A9E7-E3DB072978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1912" y="307887"/>
                  <a:ext cx="954088" cy="1216025"/>
                </a:xfrm>
                <a:prstGeom prst="rect">
                  <a:avLst/>
                </a:prstGeom>
                <a:solidFill>
                  <a:srgbClr val="FFFFFF"/>
                </a:solidFill>
                <a:ln w="12700">
                  <a:solidFill>
                    <a:srgbClr val="2D2D2A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29" name="Rectangle 17">
                  <a:extLst>
                    <a:ext uri="{FF2B5EF4-FFF2-40B4-BE49-F238E27FC236}">
                      <a16:creationId xmlns:a16="http://schemas.microsoft.com/office/drawing/2014/main" id="{25F8E1A9-2E91-4098-8E02-6E37DD26B7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20346" y="532290"/>
                  <a:ext cx="954088" cy="1216025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>
                  <a:solidFill>
                    <a:srgbClr val="2D2D2A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FDF8E551-E7AD-4BEF-8B90-ACE7EE8A2F5F}"/>
                    </a:ext>
                  </a:extLst>
                </p:cNvPr>
                <p:cNvCxnSpPr/>
                <p:nvPr/>
              </p:nvCxnSpPr>
              <p:spPr>
                <a:xfrm>
                  <a:off x="7330855" y="98474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ED4B9A61-9BD0-4278-B9BF-23CD9FF978AF}"/>
                    </a:ext>
                  </a:extLst>
                </p:cNvPr>
                <p:cNvCxnSpPr/>
                <p:nvPr/>
              </p:nvCxnSpPr>
              <p:spPr>
                <a:xfrm>
                  <a:off x="7330855" y="114300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89080EDA-8A8C-4387-A0E5-B7C327EADE51}"/>
                    </a:ext>
                  </a:extLst>
                </p:cNvPr>
                <p:cNvCxnSpPr/>
                <p:nvPr/>
              </p:nvCxnSpPr>
              <p:spPr>
                <a:xfrm>
                  <a:off x="7330855" y="129540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133" name="Straight Connector 132">
                  <a:extLst>
                    <a:ext uri="{FF2B5EF4-FFF2-40B4-BE49-F238E27FC236}">
                      <a16:creationId xmlns:a16="http://schemas.microsoft.com/office/drawing/2014/main" id="{D07AC199-5759-4895-B1EE-78B64A7CCC1B}"/>
                    </a:ext>
                  </a:extLst>
                </p:cNvPr>
                <p:cNvCxnSpPr/>
                <p:nvPr/>
              </p:nvCxnSpPr>
              <p:spPr>
                <a:xfrm>
                  <a:off x="7330855" y="145366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</p:grpSp>
          <p:sp>
            <p:nvSpPr>
              <p:cNvPr id="232" name="Rectangle: Rounded Corners 231">
                <a:extLst>
                  <a:ext uri="{FF2B5EF4-FFF2-40B4-BE49-F238E27FC236}">
                    <a16:creationId xmlns:a16="http://schemas.microsoft.com/office/drawing/2014/main" id="{95EAAF4E-AC54-4C35-AB39-4D0C61D664D4}"/>
                  </a:ext>
                </a:extLst>
              </p:cNvPr>
              <p:cNvSpPr/>
              <p:nvPr/>
            </p:nvSpPr>
            <p:spPr>
              <a:xfrm>
                <a:off x="2217330" y="2101408"/>
                <a:ext cx="1550355" cy="883330"/>
              </a:xfrm>
              <a:prstGeom prst="roundRect">
                <a:avLst/>
              </a:prstGeom>
              <a:noFill/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237" name="TextBox 236">
                <a:extLst>
                  <a:ext uri="{FF2B5EF4-FFF2-40B4-BE49-F238E27FC236}">
                    <a16:creationId xmlns:a16="http://schemas.microsoft.com/office/drawing/2014/main" id="{B30F342E-D958-4773-ABFB-B995860C3979}"/>
                  </a:ext>
                </a:extLst>
              </p:cNvPr>
              <p:cNvSpPr txBox="1"/>
              <p:nvPr/>
            </p:nvSpPr>
            <p:spPr>
              <a:xfrm>
                <a:off x="2652835" y="2120202"/>
                <a:ext cx="674352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CE Forms</a:t>
                </a:r>
              </a:p>
            </p:txBody>
          </p: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3FD2F9F3-B34A-4E88-98FD-F0AC35E46F3F}"/>
                  </a:ext>
                </a:extLst>
              </p:cNvPr>
              <p:cNvGrpSpPr/>
              <p:nvPr/>
            </p:nvGrpSpPr>
            <p:grpSpPr>
              <a:xfrm>
                <a:off x="2792550" y="2404392"/>
                <a:ext cx="353668" cy="440818"/>
                <a:chOff x="7220346" y="307887"/>
                <a:chExt cx="1155654" cy="1440428"/>
              </a:xfrm>
            </p:grpSpPr>
            <p:sp>
              <p:nvSpPr>
                <p:cNvPr id="239" name="Rectangle 17">
                  <a:extLst>
                    <a:ext uri="{FF2B5EF4-FFF2-40B4-BE49-F238E27FC236}">
                      <a16:creationId xmlns:a16="http://schemas.microsoft.com/office/drawing/2014/main" id="{CCF928FE-14AE-46AE-99FA-7BC0DF2C86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1912" y="307887"/>
                  <a:ext cx="954088" cy="1216025"/>
                </a:xfrm>
                <a:prstGeom prst="rect">
                  <a:avLst/>
                </a:prstGeom>
                <a:solidFill>
                  <a:srgbClr val="FFFFFF"/>
                </a:solidFill>
                <a:ln w="12700">
                  <a:solidFill>
                    <a:srgbClr val="2D2D2A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0" name="Rectangle 17">
                  <a:extLst>
                    <a:ext uri="{FF2B5EF4-FFF2-40B4-BE49-F238E27FC236}">
                      <a16:creationId xmlns:a16="http://schemas.microsoft.com/office/drawing/2014/main" id="{B2C7A2D2-5269-481B-8A95-523D5261DC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20346" y="532290"/>
                  <a:ext cx="954088" cy="1216025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>
                  <a:solidFill>
                    <a:srgbClr val="2D2D2A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cxnSp>
              <p:nvCxnSpPr>
                <p:cNvPr id="241" name="Straight Connector 240">
                  <a:extLst>
                    <a:ext uri="{FF2B5EF4-FFF2-40B4-BE49-F238E27FC236}">
                      <a16:creationId xmlns:a16="http://schemas.microsoft.com/office/drawing/2014/main" id="{343CE3C4-04EA-430F-9A14-D4538F4E30C8}"/>
                    </a:ext>
                  </a:extLst>
                </p:cNvPr>
                <p:cNvCxnSpPr/>
                <p:nvPr/>
              </p:nvCxnSpPr>
              <p:spPr>
                <a:xfrm>
                  <a:off x="7330855" y="98474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242" name="Straight Connector 241">
                  <a:extLst>
                    <a:ext uri="{FF2B5EF4-FFF2-40B4-BE49-F238E27FC236}">
                      <a16:creationId xmlns:a16="http://schemas.microsoft.com/office/drawing/2014/main" id="{02C7B60E-429C-4D9B-B251-1AFF22ED0EED}"/>
                    </a:ext>
                  </a:extLst>
                </p:cNvPr>
                <p:cNvCxnSpPr/>
                <p:nvPr/>
              </p:nvCxnSpPr>
              <p:spPr>
                <a:xfrm>
                  <a:off x="7330855" y="114300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243" name="Straight Connector 242">
                  <a:extLst>
                    <a:ext uri="{FF2B5EF4-FFF2-40B4-BE49-F238E27FC236}">
                      <a16:creationId xmlns:a16="http://schemas.microsoft.com/office/drawing/2014/main" id="{3AE40B13-D715-4FE5-8942-09CCA5920ACE}"/>
                    </a:ext>
                  </a:extLst>
                </p:cNvPr>
                <p:cNvCxnSpPr/>
                <p:nvPr/>
              </p:nvCxnSpPr>
              <p:spPr>
                <a:xfrm>
                  <a:off x="7330855" y="129540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244" name="Straight Connector 243">
                  <a:extLst>
                    <a:ext uri="{FF2B5EF4-FFF2-40B4-BE49-F238E27FC236}">
                      <a16:creationId xmlns:a16="http://schemas.microsoft.com/office/drawing/2014/main" id="{03EABEA9-0D36-436F-8796-7179D505D6B8}"/>
                    </a:ext>
                  </a:extLst>
                </p:cNvPr>
                <p:cNvCxnSpPr/>
                <p:nvPr/>
              </p:nvCxnSpPr>
              <p:spPr>
                <a:xfrm>
                  <a:off x="7330855" y="145366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</p:grpSp>
          <p:grpSp>
            <p:nvGrpSpPr>
              <p:cNvPr id="245" name="Group 244">
                <a:extLst>
                  <a:ext uri="{FF2B5EF4-FFF2-40B4-BE49-F238E27FC236}">
                    <a16:creationId xmlns:a16="http://schemas.microsoft.com/office/drawing/2014/main" id="{7740E7AC-1762-4C9E-9FAF-0F145B7D9EA7}"/>
                  </a:ext>
                </a:extLst>
              </p:cNvPr>
              <p:cNvGrpSpPr/>
              <p:nvPr/>
            </p:nvGrpSpPr>
            <p:grpSpPr>
              <a:xfrm>
                <a:off x="3237850" y="2392922"/>
                <a:ext cx="353668" cy="440818"/>
                <a:chOff x="7220346" y="307887"/>
                <a:chExt cx="1155654" cy="1440428"/>
              </a:xfrm>
            </p:grpSpPr>
            <p:sp>
              <p:nvSpPr>
                <p:cNvPr id="246" name="Rectangle 17">
                  <a:extLst>
                    <a:ext uri="{FF2B5EF4-FFF2-40B4-BE49-F238E27FC236}">
                      <a16:creationId xmlns:a16="http://schemas.microsoft.com/office/drawing/2014/main" id="{55D9C4D4-C9A9-4C64-9949-7A9002ACA8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1912" y="307887"/>
                  <a:ext cx="954088" cy="1216025"/>
                </a:xfrm>
                <a:prstGeom prst="rect">
                  <a:avLst/>
                </a:prstGeom>
                <a:solidFill>
                  <a:srgbClr val="FFFFFF"/>
                </a:solidFill>
                <a:ln w="12700">
                  <a:solidFill>
                    <a:srgbClr val="2D2D2A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7" name="Rectangle 17">
                  <a:extLst>
                    <a:ext uri="{FF2B5EF4-FFF2-40B4-BE49-F238E27FC236}">
                      <a16:creationId xmlns:a16="http://schemas.microsoft.com/office/drawing/2014/main" id="{E99338F6-B05B-42CF-8DC5-165DC438C30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20346" y="532290"/>
                  <a:ext cx="954088" cy="1216025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>
                  <a:solidFill>
                    <a:srgbClr val="2D2D2A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200" kern="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cxnSp>
              <p:nvCxnSpPr>
                <p:cNvPr id="248" name="Straight Connector 247">
                  <a:extLst>
                    <a:ext uri="{FF2B5EF4-FFF2-40B4-BE49-F238E27FC236}">
                      <a16:creationId xmlns:a16="http://schemas.microsoft.com/office/drawing/2014/main" id="{3B6598C2-72EB-400D-A4C9-2C4204D35F68}"/>
                    </a:ext>
                  </a:extLst>
                </p:cNvPr>
                <p:cNvCxnSpPr/>
                <p:nvPr/>
              </p:nvCxnSpPr>
              <p:spPr>
                <a:xfrm>
                  <a:off x="7330855" y="98474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251" name="Straight Connector 250">
                  <a:extLst>
                    <a:ext uri="{FF2B5EF4-FFF2-40B4-BE49-F238E27FC236}">
                      <a16:creationId xmlns:a16="http://schemas.microsoft.com/office/drawing/2014/main" id="{17832539-FEE8-4566-800B-5E9C84196C9A}"/>
                    </a:ext>
                  </a:extLst>
                </p:cNvPr>
                <p:cNvCxnSpPr/>
                <p:nvPr/>
              </p:nvCxnSpPr>
              <p:spPr>
                <a:xfrm>
                  <a:off x="7330855" y="114300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252" name="Straight Connector 251">
                  <a:extLst>
                    <a:ext uri="{FF2B5EF4-FFF2-40B4-BE49-F238E27FC236}">
                      <a16:creationId xmlns:a16="http://schemas.microsoft.com/office/drawing/2014/main" id="{2CA1B896-067C-403F-BEF9-15365E61451B}"/>
                    </a:ext>
                  </a:extLst>
                </p:cNvPr>
                <p:cNvCxnSpPr/>
                <p:nvPr/>
              </p:nvCxnSpPr>
              <p:spPr>
                <a:xfrm>
                  <a:off x="7330855" y="129540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  <p:cxnSp>
              <p:nvCxnSpPr>
                <p:cNvPr id="253" name="Straight Connector 252">
                  <a:extLst>
                    <a:ext uri="{FF2B5EF4-FFF2-40B4-BE49-F238E27FC236}">
                      <a16:creationId xmlns:a16="http://schemas.microsoft.com/office/drawing/2014/main" id="{08182D4F-153C-4C5E-8633-68EE172A99CC}"/>
                    </a:ext>
                  </a:extLst>
                </p:cNvPr>
                <p:cNvCxnSpPr/>
                <p:nvPr/>
              </p:nvCxnSpPr>
              <p:spPr>
                <a:xfrm>
                  <a:off x="7330855" y="1453660"/>
                  <a:ext cx="680142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2D2D2A"/>
                  </a:solidFill>
                  <a:prstDash val="solid"/>
                </a:ln>
                <a:effectLst/>
              </p:spPr>
            </p:cxnSp>
          </p:grpSp>
        </p:grpSp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C098FDAE-C197-40F4-A44F-5260588236A9}"/>
                </a:ext>
              </a:extLst>
            </p:cNvPr>
            <p:cNvSpPr txBox="1"/>
            <p:nvPr/>
          </p:nvSpPr>
          <p:spPr>
            <a:xfrm>
              <a:off x="1709315" y="4136753"/>
              <a:ext cx="297004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ega</a:t>
              </a:r>
            </a:p>
          </p:txBody>
        </p: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E3530DE3-5C63-4FB8-BD4D-521C6D9AC725}"/>
                </a:ext>
              </a:extLst>
            </p:cNvPr>
            <p:cNvCxnSpPr>
              <a:cxnSpLocks/>
            </p:cNvCxnSpPr>
            <p:nvPr/>
          </p:nvCxnSpPr>
          <p:spPr>
            <a:xfrm>
              <a:off x="1841387" y="3391684"/>
              <a:ext cx="0" cy="17634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BAD8D5E5-4058-45E6-B21D-A753436A8CF4}"/>
                </a:ext>
              </a:extLst>
            </p:cNvPr>
            <p:cNvGrpSpPr/>
            <p:nvPr/>
          </p:nvGrpSpPr>
          <p:grpSpPr>
            <a:xfrm>
              <a:off x="8246861" y="2139986"/>
              <a:ext cx="1955761" cy="2047917"/>
              <a:chOff x="8894065" y="419109"/>
              <a:chExt cx="1955761" cy="2047917"/>
            </a:xfrm>
          </p:grpSpPr>
          <p:pic>
            <p:nvPicPr>
              <p:cNvPr id="30742" name="Picture 22" descr="See the source image">
                <a:extLst>
                  <a:ext uri="{FF2B5EF4-FFF2-40B4-BE49-F238E27FC236}">
                    <a16:creationId xmlns:a16="http://schemas.microsoft.com/office/drawing/2014/main" id="{CB0D6B2E-1FD5-4D71-A2CD-0BC2F819B2A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94065" y="419109"/>
                <a:ext cx="1955761" cy="204791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8" name="Picture 157">
                <a:extLst>
                  <a:ext uri="{FF2B5EF4-FFF2-40B4-BE49-F238E27FC236}">
                    <a16:creationId xmlns:a16="http://schemas.microsoft.com/office/drawing/2014/main" id="{A7B3B4E0-9DD8-4BC2-8937-C47C63F13A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9345075" y="1104801"/>
                <a:ext cx="438688" cy="431158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  <p:pic>
            <p:nvPicPr>
              <p:cNvPr id="163" name="Picture 162">
                <a:extLst>
                  <a:ext uri="{FF2B5EF4-FFF2-40B4-BE49-F238E27FC236}">
                    <a16:creationId xmlns:a16="http://schemas.microsoft.com/office/drawing/2014/main" id="{80507B23-C590-448F-B030-5C551A31FD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10067452" y="1128371"/>
                <a:ext cx="428224" cy="428224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257" name="TextBox 256">
                <a:extLst>
                  <a:ext uri="{FF2B5EF4-FFF2-40B4-BE49-F238E27FC236}">
                    <a16:creationId xmlns:a16="http://schemas.microsoft.com/office/drawing/2014/main" id="{1D8D899E-8878-470B-91AE-FBE73F9B6179}"/>
                  </a:ext>
                </a:extLst>
              </p:cNvPr>
              <p:cNvSpPr txBox="1"/>
              <p:nvPr/>
            </p:nvSpPr>
            <p:spPr>
              <a:xfrm>
                <a:off x="9235423" y="1565574"/>
                <a:ext cx="661568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dobe Target</a:t>
                </a:r>
              </a:p>
            </p:txBody>
          </p:sp>
          <p:sp>
            <p:nvSpPr>
              <p:cNvPr id="258" name="TextBox 257">
                <a:extLst>
                  <a:ext uri="{FF2B5EF4-FFF2-40B4-BE49-F238E27FC236}">
                    <a16:creationId xmlns:a16="http://schemas.microsoft.com/office/drawing/2014/main" id="{AA5623AE-AD1B-4FFF-99F8-12284A2DFD94}"/>
                  </a:ext>
                </a:extLst>
              </p:cNvPr>
              <p:cNvSpPr txBox="1"/>
              <p:nvPr/>
            </p:nvSpPr>
            <p:spPr>
              <a:xfrm>
                <a:off x="9945586" y="1565574"/>
                <a:ext cx="661568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2D2D2A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dobe Analytics</a:t>
                </a:r>
              </a:p>
            </p:txBody>
          </p:sp>
        </p:grp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8936ACE3-C463-4828-9095-F2D6C499F1BD}"/>
                </a:ext>
              </a:extLst>
            </p:cNvPr>
            <p:cNvCxnSpPr>
              <a:cxnSpLocks/>
            </p:cNvCxnSpPr>
            <p:nvPr/>
          </p:nvCxnSpPr>
          <p:spPr>
            <a:xfrm>
              <a:off x="9102737" y="2312692"/>
              <a:ext cx="0" cy="18558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F2AE32-A6E7-4293-B3F6-3FFCADED32D2}"/>
                </a:ext>
              </a:extLst>
            </p:cNvPr>
            <p:cNvCxnSpPr>
              <a:cxnSpLocks/>
            </p:cNvCxnSpPr>
            <p:nvPr/>
          </p:nvCxnSpPr>
          <p:spPr>
            <a:xfrm>
              <a:off x="9102737" y="3772058"/>
              <a:ext cx="0" cy="199956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E602818E-CD14-4AFC-9BFC-B22A3EBBD547}"/>
                </a:ext>
              </a:extLst>
            </p:cNvPr>
            <p:cNvCxnSpPr>
              <a:cxnSpLocks/>
            </p:cNvCxnSpPr>
            <p:nvPr/>
          </p:nvCxnSpPr>
          <p:spPr>
            <a:xfrm>
              <a:off x="6784169" y="4608268"/>
              <a:ext cx="0" cy="31630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9E324C71-EB38-4A9E-8DA7-401D0D7FDD98}"/>
                </a:ext>
              </a:extLst>
            </p:cNvPr>
            <p:cNvCxnSpPr>
              <a:cxnSpLocks/>
            </p:cNvCxnSpPr>
            <p:nvPr/>
          </p:nvCxnSpPr>
          <p:spPr>
            <a:xfrm>
              <a:off x="6785182" y="5771625"/>
              <a:ext cx="231755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Rectangle: Rounded Corners 270">
              <a:extLst>
                <a:ext uri="{FF2B5EF4-FFF2-40B4-BE49-F238E27FC236}">
                  <a16:creationId xmlns:a16="http://schemas.microsoft.com/office/drawing/2014/main" id="{8AFD96A8-C1E8-42F9-9730-B311AB422AD1}"/>
                </a:ext>
              </a:extLst>
            </p:cNvPr>
            <p:cNvSpPr/>
            <p:nvPr/>
          </p:nvSpPr>
          <p:spPr>
            <a:xfrm>
              <a:off x="1102159" y="3568030"/>
              <a:ext cx="1550356" cy="883330"/>
            </a:xfrm>
            <a:prstGeom prst="round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3F2FAA52-12EC-46B5-A2F5-D5CD9C3B9E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7214" y="1726813"/>
              <a:ext cx="408489" cy="408489"/>
            </a:xfrm>
            <a:prstGeom prst="rect">
              <a:avLst/>
            </a:prstGeom>
          </p:spPr>
        </p:pic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57E7AFAA-1A8A-48BA-BCE6-4A1C9C71CC35}"/>
                </a:ext>
              </a:extLst>
            </p:cNvPr>
            <p:cNvCxnSpPr>
              <a:cxnSpLocks/>
            </p:cNvCxnSpPr>
            <p:nvPr/>
          </p:nvCxnSpPr>
          <p:spPr>
            <a:xfrm>
              <a:off x="5570826" y="1549140"/>
              <a:ext cx="0" cy="18558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53828C33-A53A-4F02-ACB6-6977069D292D}"/>
                </a:ext>
              </a:extLst>
            </p:cNvPr>
            <p:cNvCxnSpPr>
              <a:cxnSpLocks/>
            </p:cNvCxnSpPr>
            <p:nvPr/>
          </p:nvCxnSpPr>
          <p:spPr>
            <a:xfrm>
              <a:off x="5574367" y="2116223"/>
              <a:ext cx="0" cy="18558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4E8AB34D-F9C5-4197-8C67-5E831A371E85}"/>
                </a:ext>
              </a:extLst>
            </p:cNvPr>
            <p:cNvSpPr txBox="1"/>
            <p:nvPr/>
          </p:nvSpPr>
          <p:spPr>
            <a:xfrm>
              <a:off x="5785703" y="1848357"/>
              <a:ext cx="86293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AF + CD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806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52519E-398E-4BA6-9C3E-BBEB15F99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00877"/>
          </a:xfrm>
        </p:spPr>
        <p:txBody>
          <a:bodyPr/>
          <a:lstStyle/>
          <a:p>
            <a:r>
              <a:rPr lang="en-GB" dirty="0"/>
              <a:t>Physical topology – Production environment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78FC8C21-ABEC-4520-8365-23C26FB95870}"/>
              </a:ext>
            </a:extLst>
          </p:cNvPr>
          <p:cNvGrpSpPr/>
          <p:nvPr/>
        </p:nvGrpSpPr>
        <p:grpSpPr>
          <a:xfrm>
            <a:off x="1579241" y="1116250"/>
            <a:ext cx="8185813" cy="5032297"/>
            <a:chOff x="1962014" y="1180046"/>
            <a:chExt cx="8185813" cy="5032297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5DAAE662-C081-4470-AA41-4DD0AFDA9351}"/>
                </a:ext>
              </a:extLst>
            </p:cNvPr>
            <p:cNvGrpSpPr/>
            <p:nvPr/>
          </p:nvGrpSpPr>
          <p:grpSpPr>
            <a:xfrm>
              <a:off x="1962014" y="1180046"/>
              <a:ext cx="6029830" cy="5032297"/>
              <a:chOff x="2663763" y="1615981"/>
              <a:chExt cx="6029830" cy="5032297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D0581502-DB7D-44FE-9DFA-C82363B30D13}"/>
                  </a:ext>
                </a:extLst>
              </p:cNvPr>
              <p:cNvSpPr/>
              <p:nvPr/>
            </p:nvSpPr>
            <p:spPr bwMode="auto">
              <a:xfrm>
                <a:off x="2663763" y="1619265"/>
                <a:ext cx="5993380" cy="5029013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02920" tIns="91440"/>
              <a:lstStyle/>
              <a:p>
                <a:pPr algn="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WS Region - London</a:t>
                </a:r>
              </a:p>
            </p:txBody>
          </p:sp>
          <p:sp>
            <p:nvSpPr>
              <p:cNvPr id="9" name="TextBox 14">
                <a:extLst>
                  <a:ext uri="{FF2B5EF4-FFF2-40B4-BE49-F238E27FC236}">
                    <a16:creationId xmlns:a16="http://schemas.microsoft.com/office/drawing/2014/main" id="{54A465A9-97F5-4809-AAE1-B36ABB3D41D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466971" y="2287605"/>
                <a:ext cx="1241716" cy="2679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oad Balancer</a:t>
                </a:r>
              </a:p>
            </p:txBody>
          </p:sp>
          <p:sp>
            <p:nvSpPr>
              <p:cNvPr id="11" name="TextBox 16">
                <a:extLst>
                  <a:ext uri="{FF2B5EF4-FFF2-40B4-BE49-F238E27FC236}">
                    <a16:creationId xmlns:a16="http://schemas.microsoft.com/office/drawing/2014/main" id="{04A21B75-9C28-4689-888B-80812C5AF69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09415" y="2888038"/>
                <a:ext cx="884178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oute 53</a:t>
                </a: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D29F424F-1F28-4B80-B0DD-69E1A4D86B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/>
              <a:stretch/>
            </p:blipFill>
            <p:spPr>
              <a:xfrm>
                <a:off x="2663763" y="1615981"/>
                <a:ext cx="381000" cy="381000"/>
              </a:xfrm>
              <a:prstGeom prst="rect">
                <a:avLst/>
              </a:prstGeom>
            </p:spPr>
          </p:pic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14D2A341-2EF4-4E57-ABE7-7B1C7E34FDF7}"/>
                  </a:ext>
                </a:extLst>
              </p:cNvPr>
              <p:cNvGrpSpPr/>
              <p:nvPr/>
            </p:nvGrpSpPr>
            <p:grpSpPr>
              <a:xfrm>
                <a:off x="2743782" y="2154570"/>
                <a:ext cx="4954190" cy="4439933"/>
                <a:chOff x="1808117" y="1673788"/>
                <a:chExt cx="4954190" cy="4439933"/>
              </a:xfrm>
            </p:grpSpPr>
            <p:sp>
              <p:nvSpPr>
                <p:cNvPr id="4" name="Rectangle 3">
                  <a:extLst>
                    <a:ext uri="{FF2B5EF4-FFF2-40B4-BE49-F238E27FC236}">
                      <a16:creationId xmlns:a16="http://schemas.microsoft.com/office/drawing/2014/main" id="{EAFEB8D5-F73B-4F70-AEDE-329BDE081200}"/>
                    </a:ext>
                  </a:extLst>
                </p:cNvPr>
                <p:cNvSpPr/>
                <p:nvPr/>
              </p:nvSpPr>
              <p:spPr bwMode="auto">
                <a:xfrm>
                  <a:off x="1810829" y="1675220"/>
                  <a:ext cx="4951478" cy="4438501"/>
                </a:xfrm>
                <a:prstGeom prst="rect">
                  <a:avLst/>
                </a:prstGeom>
                <a:noFill/>
                <a:ln w="12700">
                  <a:solidFill>
                    <a:srgbClr val="1E89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02920" tIns="91440"/>
                <a:lstStyle/>
                <a:p>
                  <a:pPr algn="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ln w="0"/>
                      <a:solidFill>
                        <a:srgbClr val="1E89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VPC</a:t>
                  </a:r>
                </a:p>
              </p:txBody>
            </p:sp>
            <p:pic>
              <p:nvPicPr>
                <p:cNvPr id="25" name="Graphic 24">
                  <a:extLst>
                    <a:ext uri="{FF2B5EF4-FFF2-40B4-BE49-F238E27FC236}">
                      <a16:creationId xmlns:a16="http://schemas.microsoft.com/office/drawing/2014/main" id="{0E8A498C-9F88-4E20-848C-DAD45F5DE9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08117" y="1673788"/>
                  <a:ext cx="381000" cy="381000"/>
                </a:xfrm>
                <a:prstGeom prst="rect">
                  <a:avLst/>
                </a:prstGeom>
              </p:spPr>
            </p:pic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9CB3E52B-1C19-4E01-BD54-4C20F460B76A}"/>
                  </a:ext>
                </a:extLst>
              </p:cNvPr>
              <p:cNvGrpSpPr/>
              <p:nvPr/>
            </p:nvGrpSpPr>
            <p:grpSpPr>
              <a:xfrm>
                <a:off x="2840253" y="2620811"/>
                <a:ext cx="2095500" cy="3867150"/>
                <a:chOff x="1915221" y="2118763"/>
                <a:chExt cx="2095500" cy="386715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81DC7AC5-0F7E-429A-BB3B-ACED632E140F}"/>
                    </a:ext>
                  </a:extLst>
                </p:cNvPr>
                <p:cNvGrpSpPr/>
                <p:nvPr/>
              </p:nvGrpSpPr>
              <p:grpSpPr>
                <a:xfrm>
                  <a:off x="2008614" y="2214848"/>
                  <a:ext cx="1941271" cy="889002"/>
                  <a:chOff x="2997444" y="2373443"/>
                  <a:chExt cx="1941271" cy="889002"/>
                </a:xfrm>
              </p:grpSpPr>
              <p:sp>
                <p:nvSpPr>
                  <p:cNvPr id="35" name="Rectangle 34">
                    <a:extLst>
                      <a:ext uri="{FF2B5EF4-FFF2-40B4-BE49-F238E27FC236}">
                        <a16:creationId xmlns:a16="http://schemas.microsoft.com/office/drawing/2014/main" id="{3DEF343A-0D4A-4704-95E2-E36C8F53B28B}"/>
                      </a:ext>
                    </a:extLst>
                  </p:cNvPr>
                  <p:cNvSpPr/>
                  <p:nvPr/>
                </p:nvSpPr>
                <p:spPr>
                  <a:xfrm>
                    <a:off x="2997444" y="2373443"/>
                    <a:ext cx="1941271" cy="889002"/>
                  </a:xfrm>
                  <a:prstGeom prst="rect">
                    <a:avLst/>
                  </a:prstGeom>
                  <a:solidFill>
                    <a:srgbClr val="E1F2D4">
                      <a:alpha val="20000"/>
                    </a:srgbClr>
                  </a:solidFill>
                  <a:ln w="12700">
                    <a:solidFill>
                      <a:srgbClr val="92D050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02920" anchor="t"/>
                  <a:lstStyle/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ublic </a:t>
                    </a:r>
                  </a:p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ubnet</a:t>
                    </a:r>
                  </a:p>
                </p:txBody>
              </p:sp>
              <p:pic>
                <p:nvPicPr>
                  <p:cNvPr id="36" name="Graphic 35">
                    <a:extLst>
                      <a:ext uri="{FF2B5EF4-FFF2-40B4-BE49-F238E27FC236}">
                        <a16:creationId xmlns:a16="http://schemas.microsoft.com/office/drawing/2014/main" id="{AE494E20-C6F6-4E84-A417-E086DF9BE0C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rcRect/>
                  <a:stretch/>
                </p:blipFill>
                <p:spPr>
                  <a:xfrm>
                    <a:off x="2998080" y="2375031"/>
                    <a:ext cx="381000" cy="38100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477BDB4A-87F6-41D8-877F-9BD1BA6FEE24}"/>
                    </a:ext>
                  </a:extLst>
                </p:cNvPr>
                <p:cNvGrpSpPr/>
                <p:nvPr/>
              </p:nvGrpSpPr>
              <p:grpSpPr>
                <a:xfrm>
                  <a:off x="1915221" y="2118763"/>
                  <a:ext cx="2095500" cy="3867150"/>
                  <a:chOff x="1915221" y="2118763"/>
                  <a:chExt cx="2095500" cy="3867150"/>
                </a:xfrm>
              </p:grpSpPr>
              <p:grpSp>
                <p:nvGrpSpPr>
                  <p:cNvPr id="53" name="Group 52">
                    <a:extLst>
                      <a:ext uri="{FF2B5EF4-FFF2-40B4-BE49-F238E27FC236}">
                        <a16:creationId xmlns:a16="http://schemas.microsoft.com/office/drawing/2014/main" id="{C4DE79FA-393E-4F3C-ABCE-148A7C714B10}"/>
                      </a:ext>
                    </a:extLst>
                  </p:cNvPr>
                  <p:cNvGrpSpPr/>
                  <p:nvPr/>
                </p:nvGrpSpPr>
                <p:grpSpPr>
                  <a:xfrm>
                    <a:off x="2008613" y="4434135"/>
                    <a:ext cx="1924993" cy="1168822"/>
                    <a:chOff x="2944278" y="4443873"/>
                    <a:chExt cx="1924993" cy="1168822"/>
                  </a:xfrm>
                </p:grpSpPr>
                <p:sp>
                  <p:nvSpPr>
                    <p:cNvPr id="34" name="Rectangle 33">
                      <a:extLst>
                        <a:ext uri="{FF2B5EF4-FFF2-40B4-BE49-F238E27FC236}">
                          <a16:creationId xmlns:a16="http://schemas.microsoft.com/office/drawing/2014/main" id="{84570DDF-B7EE-43D5-999B-130DAA1FCA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44278" y="4443873"/>
                      <a:ext cx="1924993" cy="1168822"/>
                    </a:xfrm>
                    <a:prstGeom prst="rect">
                      <a:avLst/>
                    </a:prstGeom>
                    <a:solidFill>
                      <a:srgbClr val="C1F3FF">
                        <a:alpha val="15000"/>
                      </a:srgbClr>
                    </a:solidFill>
                    <a:ln w="12700">
                      <a:solidFill>
                        <a:schemeClr val="bg2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502920"/>
                    <a:lstStyle/>
                    <a:p>
                      <a:pPr algn="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vate </a:t>
                      </a:r>
                    </a:p>
                    <a:p>
                      <a:pPr algn="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net</a:t>
                      </a:r>
                    </a:p>
                  </p:txBody>
                </p:sp>
                <p:pic>
                  <p:nvPicPr>
                    <p:cNvPr id="37" name="Graphic 36">
                      <a:extLst>
                        <a:ext uri="{FF2B5EF4-FFF2-40B4-BE49-F238E27FC236}">
                          <a16:creationId xmlns:a16="http://schemas.microsoft.com/office/drawing/2014/main" id="{453645A5-BA7D-4F69-85F6-858220A4DD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2949041" y="4445461"/>
                      <a:ext cx="381000" cy="381000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6" name="Rectangle 5">
                    <a:extLst>
                      <a:ext uri="{FF2B5EF4-FFF2-40B4-BE49-F238E27FC236}">
                        <a16:creationId xmlns:a16="http://schemas.microsoft.com/office/drawing/2014/main" id="{F70B4753-A2C3-4ECC-A5FF-75410FE9588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915221" y="2118763"/>
                    <a:ext cx="2095500" cy="3867150"/>
                  </a:xfrm>
                  <a:prstGeom prst="rect">
                    <a:avLst/>
                  </a:prstGeom>
                  <a:noFill/>
                  <a:ln w="12700">
                    <a:solidFill>
                      <a:srgbClr val="5B9CD5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tIns="91440" anchor="b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vailability Zone 1</a:t>
                    </a:r>
                  </a:p>
                </p:txBody>
              </p:sp>
              <p:pic>
                <p:nvPicPr>
                  <p:cNvPr id="12" name="Graphic 17">
                    <a:extLst>
                      <a:ext uri="{FF2B5EF4-FFF2-40B4-BE49-F238E27FC236}">
                        <a16:creationId xmlns:a16="http://schemas.microsoft.com/office/drawing/2014/main" id="{C9A8CB7E-F458-4F46-A0BB-AC6E4F1F1FF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720351" y="3534443"/>
                    <a:ext cx="469900" cy="4699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3" name="TextBox 18">
                    <a:extLst>
                      <a:ext uri="{FF2B5EF4-FFF2-40B4-BE49-F238E27FC236}">
                        <a16:creationId xmlns:a16="http://schemas.microsoft.com/office/drawing/2014/main" id="{1525C0D8-FBE5-47FA-9717-2E252CBED1CE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071124" y="3979813"/>
                    <a:ext cx="1767152" cy="26161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algn="ctr" eaLnBrk="1" hangingPunct="1"/>
                    <a:r>
                      <a:rPr lang="en-US" altLang="en-US" sz="1100" dirty="0">
                        <a:solidFill>
                          <a:srgbClr val="232F3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EM Publish 1</a:t>
                    </a:r>
                  </a:p>
                </p:txBody>
              </p:sp>
              <p:pic>
                <p:nvPicPr>
                  <p:cNvPr id="16" name="Graphic 21">
                    <a:extLst>
                      <a:ext uri="{FF2B5EF4-FFF2-40B4-BE49-F238E27FC236}">
                        <a16:creationId xmlns:a16="http://schemas.microsoft.com/office/drawing/2014/main" id="{903E504D-AAF2-4F03-B952-C0CE508DF27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88452" y="4828815"/>
                    <a:ext cx="469900" cy="4699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7" name="TextBox 22">
                    <a:extLst>
                      <a:ext uri="{FF2B5EF4-FFF2-40B4-BE49-F238E27FC236}">
                        <a16:creationId xmlns:a16="http://schemas.microsoft.com/office/drawing/2014/main" id="{498F81B5-F018-4A82-A383-BF400A95595A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039225" y="5274429"/>
                    <a:ext cx="1767152" cy="26161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algn="ctr" eaLnBrk="1" hangingPunct="1"/>
                    <a:r>
                      <a:rPr lang="en-US" altLang="en-US" sz="1100" dirty="0">
                        <a:solidFill>
                          <a:srgbClr val="232F3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EM Author</a:t>
                    </a:r>
                  </a:p>
                </p:txBody>
              </p:sp>
              <p:grpSp>
                <p:nvGrpSpPr>
                  <p:cNvPr id="50" name="Group 49">
                    <a:extLst>
                      <a:ext uri="{FF2B5EF4-FFF2-40B4-BE49-F238E27FC236}">
                        <a16:creationId xmlns:a16="http://schemas.microsoft.com/office/drawing/2014/main" id="{6F31A5E1-E2FA-475C-9710-5AC02327B7E0}"/>
                      </a:ext>
                    </a:extLst>
                  </p:cNvPr>
                  <p:cNvGrpSpPr/>
                  <p:nvPr/>
                </p:nvGrpSpPr>
                <p:grpSpPr>
                  <a:xfrm>
                    <a:off x="2071124" y="2273154"/>
                    <a:ext cx="1767152" cy="706980"/>
                    <a:chOff x="3006789" y="2527443"/>
                    <a:chExt cx="1767152" cy="706980"/>
                  </a:xfrm>
                </p:grpSpPr>
                <p:pic>
                  <p:nvPicPr>
                    <p:cNvPr id="28" name="Graphic 17">
                      <a:extLst>
                        <a:ext uri="{FF2B5EF4-FFF2-40B4-BE49-F238E27FC236}">
                          <a16:creationId xmlns:a16="http://schemas.microsoft.com/office/drawing/2014/main" id="{B7E291E0-CE25-4FEB-B2E6-0B6336FFB5D8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0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56016" y="2527443"/>
                      <a:ext cx="469900" cy="46990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29" name="TextBox 18">
                      <a:extLst>
                        <a:ext uri="{FF2B5EF4-FFF2-40B4-BE49-F238E27FC236}">
                          <a16:creationId xmlns:a16="http://schemas.microsoft.com/office/drawing/2014/main" id="{444FBF75-3A3D-4525-94B8-E8714D677DB8}"/>
                        </a:ext>
                      </a:extLst>
                    </p:cNvPr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3006789" y="2972813"/>
                      <a:ext cx="1767152" cy="26161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>
                      <a:spAutoFit/>
                    </a:bodyPr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algn="ctr" eaLnBrk="1" hangingPunct="1"/>
                      <a:r>
                        <a:rPr lang="en-US" altLang="en-US" sz="1100" dirty="0">
                          <a:solidFill>
                            <a:srgbClr val="232F3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atcher 1</a:t>
                      </a:r>
                    </a:p>
                  </p:txBody>
                </p:sp>
                <p:pic>
                  <p:nvPicPr>
                    <p:cNvPr id="40" name="Picture 4" descr="See the source image">
                      <a:extLst>
                        <a:ext uri="{FF2B5EF4-FFF2-40B4-BE49-F238E27FC236}">
                          <a16:creationId xmlns:a16="http://schemas.microsoft.com/office/drawing/2014/main" id="{5BC98AD1-0519-4E84-9B16-D639E4EA2531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1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763230" y="2628924"/>
                      <a:ext cx="288203" cy="288203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  <p:pic>
                <p:nvPicPr>
                  <p:cNvPr id="41" name="Picture 40">
                    <a:extLst>
                      <a:ext uri="{FF2B5EF4-FFF2-40B4-BE49-F238E27FC236}">
                        <a16:creationId xmlns:a16="http://schemas.microsoft.com/office/drawing/2014/main" id="{7827DD4D-9E08-4860-856A-D0FED6FF8BB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2918073" y="4733754"/>
                    <a:ext cx="379889" cy="379889"/>
                  </a:xfrm>
                  <a:prstGeom prst="rect">
                    <a:avLst/>
                  </a:prstGeom>
                </p:spPr>
              </p:pic>
              <p:pic>
                <p:nvPicPr>
                  <p:cNvPr id="42" name="Picture 41">
                    <a:extLst>
                      <a:ext uri="{FF2B5EF4-FFF2-40B4-BE49-F238E27FC236}">
                        <a16:creationId xmlns:a16="http://schemas.microsoft.com/office/drawing/2014/main" id="{EC45FB05-AA84-41F0-A42D-CF59ED62041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2944430" y="3429442"/>
                    <a:ext cx="379889" cy="379889"/>
                  </a:xfrm>
                  <a:prstGeom prst="rect">
                    <a:avLst/>
                  </a:prstGeom>
                </p:spPr>
              </p:pic>
              <p:grpSp>
                <p:nvGrpSpPr>
                  <p:cNvPr id="49" name="Group 48">
                    <a:extLst>
                      <a:ext uri="{FF2B5EF4-FFF2-40B4-BE49-F238E27FC236}">
                        <a16:creationId xmlns:a16="http://schemas.microsoft.com/office/drawing/2014/main" id="{B684697E-43E7-4496-ABD9-B587173A8A3F}"/>
                      </a:ext>
                    </a:extLst>
                  </p:cNvPr>
                  <p:cNvGrpSpPr/>
                  <p:nvPr/>
                </p:nvGrpSpPr>
                <p:grpSpPr>
                  <a:xfrm>
                    <a:off x="1992336" y="3249136"/>
                    <a:ext cx="1941271" cy="1014846"/>
                    <a:chOff x="2864203" y="3429000"/>
                    <a:chExt cx="1941271" cy="1014846"/>
                  </a:xfrm>
                </p:grpSpPr>
                <p:sp>
                  <p:nvSpPr>
                    <p:cNvPr id="47" name="Rectangle 46">
                      <a:extLst>
                        <a:ext uri="{FF2B5EF4-FFF2-40B4-BE49-F238E27FC236}">
                          <a16:creationId xmlns:a16="http://schemas.microsoft.com/office/drawing/2014/main" id="{6971D440-C3A4-493A-8DDD-65545533DC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64203" y="3429000"/>
                      <a:ext cx="1941271" cy="1014846"/>
                    </a:xfrm>
                    <a:prstGeom prst="rect">
                      <a:avLst/>
                    </a:prstGeom>
                    <a:solidFill>
                      <a:srgbClr val="E1F2D4">
                        <a:alpha val="20000"/>
                      </a:srgbClr>
                    </a:solidFill>
                    <a:ln w="12700">
                      <a:solidFill>
                        <a:srgbClr val="92D050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502920" anchor="t"/>
                    <a:lstStyle/>
                    <a:p>
                      <a:pPr algn="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c </a:t>
                      </a:r>
                    </a:p>
                    <a:p>
                      <a:pPr algn="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net</a:t>
                      </a:r>
                    </a:p>
                  </p:txBody>
                </p:sp>
                <p:pic>
                  <p:nvPicPr>
                    <p:cNvPr id="48" name="Graphic 47">
                      <a:extLst>
                        <a:ext uri="{FF2B5EF4-FFF2-40B4-BE49-F238E27FC236}">
                          <a16:creationId xmlns:a16="http://schemas.microsoft.com/office/drawing/2014/main" id="{3A1ECB2D-9C83-43C5-AD22-0FE2E797C0C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2864839" y="3430588"/>
                      <a:ext cx="381000" cy="381000"/>
                    </a:xfrm>
                    <a:prstGeom prst="rect">
                      <a:avLst/>
                    </a:prstGeom>
                  </p:spPr>
                </p:pic>
              </p:grpSp>
            </p:grpSp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40EADE88-B777-4FF0-B180-FBD71DE41E2C}"/>
                  </a:ext>
                </a:extLst>
              </p:cNvPr>
              <p:cNvGrpSpPr/>
              <p:nvPr/>
            </p:nvGrpSpPr>
            <p:grpSpPr>
              <a:xfrm>
                <a:off x="5465608" y="2620811"/>
                <a:ext cx="2095500" cy="3867150"/>
                <a:chOff x="5055379" y="2111673"/>
                <a:chExt cx="2095500" cy="3867150"/>
              </a:xfrm>
            </p:grpSpPr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8BDD8A6F-403F-4F4B-9895-174BDEEE5B4B}"/>
                    </a:ext>
                  </a:extLst>
                </p:cNvPr>
                <p:cNvSpPr/>
                <p:nvPr/>
              </p:nvSpPr>
              <p:spPr>
                <a:xfrm>
                  <a:off x="5132494" y="3242046"/>
                  <a:ext cx="1941271" cy="1014846"/>
                </a:xfrm>
                <a:prstGeom prst="rect">
                  <a:avLst/>
                </a:prstGeom>
                <a:solidFill>
                  <a:srgbClr val="E1F2D4">
                    <a:alpha val="20000"/>
                  </a:srgbClr>
                </a:solidFill>
                <a:ln w="12700">
                  <a:solidFill>
                    <a:srgbClr val="92D050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02920" anchor="t"/>
                <a:lstStyle/>
                <a:p>
                  <a:pPr algn="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ublic </a:t>
                  </a:r>
                </a:p>
                <a:p>
                  <a:pPr algn="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ubnet</a:t>
                  </a:r>
                </a:p>
              </p:txBody>
            </p:sp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94372D2C-6C4F-4157-ADB1-C6BFDD47E488}"/>
                    </a:ext>
                  </a:extLst>
                </p:cNvPr>
                <p:cNvGrpSpPr/>
                <p:nvPr/>
              </p:nvGrpSpPr>
              <p:grpSpPr>
                <a:xfrm>
                  <a:off x="5148772" y="2207758"/>
                  <a:ext cx="1941271" cy="889002"/>
                  <a:chOff x="2997444" y="2373443"/>
                  <a:chExt cx="1941271" cy="889002"/>
                </a:xfrm>
              </p:grpSpPr>
              <p:sp>
                <p:nvSpPr>
                  <p:cNvPr id="95" name="Rectangle 94">
                    <a:extLst>
                      <a:ext uri="{FF2B5EF4-FFF2-40B4-BE49-F238E27FC236}">
                        <a16:creationId xmlns:a16="http://schemas.microsoft.com/office/drawing/2014/main" id="{6410AEA9-037A-4AB3-AD48-71E99D8DC090}"/>
                      </a:ext>
                    </a:extLst>
                  </p:cNvPr>
                  <p:cNvSpPr/>
                  <p:nvPr/>
                </p:nvSpPr>
                <p:spPr>
                  <a:xfrm>
                    <a:off x="2997444" y="2373443"/>
                    <a:ext cx="1941271" cy="889002"/>
                  </a:xfrm>
                  <a:prstGeom prst="rect">
                    <a:avLst/>
                  </a:prstGeom>
                  <a:solidFill>
                    <a:srgbClr val="E1F2D4">
                      <a:alpha val="20000"/>
                    </a:srgbClr>
                  </a:solidFill>
                  <a:ln w="12700">
                    <a:solidFill>
                      <a:srgbClr val="92D050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02920" anchor="t"/>
                  <a:lstStyle/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ublic </a:t>
                    </a:r>
                  </a:p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ubnet</a:t>
                    </a:r>
                  </a:p>
                </p:txBody>
              </p:sp>
              <p:pic>
                <p:nvPicPr>
                  <p:cNvPr id="96" name="Graphic 95">
                    <a:extLst>
                      <a:ext uri="{FF2B5EF4-FFF2-40B4-BE49-F238E27FC236}">
                        <a16:creationId xmlns:a16="http://schemas.microsoft.com/office/drawing/2014/main" id="{AC04042A-490B-4184-BC47-B7B74D177A4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rcRect/>
                  <a:stretch/>
                </p:blipFill>
                <p:spPr>
                  <a:xfrm>
                    <a:off x="2998080" y="2375031"/>
                    <a:ext cx="381000" cy="381000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09D633F0-FF34-43D8-AE82-F6CA25A06625}"/>
                    </a:ext>
                  </a:extLst>
                </p:cNvPr>
                <p:cNvSpPr/>
                <p:nvPr/>
              </p:nvSpPr>
              <p:spPr bwMode="auto">
                <a:xfrm>
                  <a:off x="5055379" y="2111673"/>
                  <a:ext cx="2095500" cy="3867150"/>
                </a:xfrm>
                <a:prstGeom prst="rect">
                  <a:avLst/>
                </a:prstGeom>
                <a:noFill/>
                <a:ln w="12700">
                  <a:solidFill>
                    <a:srgbClr val="5B9CD5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anchor="b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vailability Zone 2</a:t>
                  </a:r>
                </a:p>
              </p:txBody>
            </p:sp>
            <p:pic>
              <p:nvPicPr>
                <p:cNvPr id="80" name="Graphic 17">
                  <a:extLst>
                    <a:ext uri="{FF2B5EF4-FFF2-40B4-BE49-F238E27FC236}">
                      <a16:creationId xmlns:a16="http://schemas.microsoft.com/office/drawing/2014/main" id="{A46079CD-ED0B-475D-852A-8C40E2E54DE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860509" y="3527353"/>
                  <a:ext cx="469900" cy="4699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1" name="TextBox 18">
                  <a:extLst>
                    <a:ext uri="{FF2B5EF4-FFF2-40B4-BE49-F238E27FC236}">
                      <a16:creationId xmlns:a16="http://schemas.microsoft.com/office/drawing/2014/main" id="{0C4F7349-2E0E-403D-B5B9-EE7E239316B9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211282" y="3972723"/>
                  <a:ext cx="1767152" cy="2616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algn="ctr" eaLnBrk="1" hangingPunct="1"/>
                  <a:r>
                    <a:rPr lang="en-US" altLang="en-US" sz="1100" dirty="0">
                      <a:solidFill>
                        <a:srgbClr val="232F3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EM Publish 2</a:t>
                  </a:r>
                </a:p>
              </p:txBody>
            </p:sp>
            <p:grpSp>
              <p:nvGrpSpPr>
                <p:cNvPr id="84" name="Group 83">
                  <a:extLst>
                    <a:ext uri="{FF2B5EF4-FFF2-40B4-BE49-F238E27FC236}">
                      <a16:creationId xmlns:a16="http://schemas.microsoft.com/office/drawing/2014/main" id="{AEBD1FE3-CE68-4C0C-B183-F49C4DF04C76}"/>
                    </a:ext>
                  </a:extLst>
                </p:cNvPr>
                <p:cNvGrpSpPr/>
                <p:nvPr/>
              </p:nvGrpSpPr>
              <p:grpSpPr>
                <a:xfrm>
                  <a:off x="5211282" y="2266064"/>
                  <a:ext cx="1767152" cy="706980"/>
                  <a:chOff x="3006789" y="2527443"/>
                  <a:chExt cx="1767152" cy="706980"/>
                </a:xfrm>
              </p:grpSpPr>
              <p:pic>
                <p:nvPicPr>
                  <p:cNvPr id="90" name="Graphic 17">
                    <a:extLst>
                      <a:ext uri="{FF2B5EF4-FFF2-40B4-BE49-F238E27FC236}">
                        <a16:creationId xmlns:a16="http://schemas.microsoft.com/office/drawing/2014/main" id="{101FA5E8-EBDC-4BDA-8D40-BC1C6B95339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656016" y="2527443"/>
                    <a:ext cx="469900" cy="4699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91" name="TextBox 18">
                    <a:extLst>
                      <a:ext uri="{FF2B5EF4-FFF2-40B4-BE49-F238E27FC236}">
                        <a16:creationId xmlns:a16="http://schemas.microsoft.com/office/drawing/2014/main" id="{FCD48D24-4A72-463D-A810-BF8DECF77E08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006789" y="2972813"/>
                    <a:ext cx="1767152" cy="26161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algn="ctr" eaLnBrk="1" hangingPunct="1"/>
                    <a:r>
                      <a:rPr lang="en-US" altLang="en-US" sz="1100" dirty="0">
                        <a:solidFill>
                          <a:srgbClr val="232F3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ispatcher 2</a:t>
                    </a:r>
                  </a:p>
                </p:txBody>
              </p:sp>
              <p:pic>
                <p:nvPicPr>
                  <p:cNvPr id="92" name="Picture 4" descr="See the source image">
                    <a:extLst>
                      <a:ext uri="{FF2B5EF4-FFF2-40B4-BE49-F238E27FC236}">
                        <a16:creationId xmlns:a16="http://schemas.microsoft.com/office/drawing/2014/main" id="{7CDFF747-EC34-4342-AC34-FDE09706C78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1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763230" y="2628924"/>
                    <a:ext cx="288203" cy="28820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86" name="Picture 85">
                  <a:extLst>
                    <a:ext uri="{FF2B5EF4-FFF2-40B4-BE49-F238E27FC236}">
                      <a16:creationId xmlns:a16="http://schemas.microsoft.com/office/drawing/2014/main" id="{E9681838-4135-4F18-B918-BD6484DEB7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6084588" y="3422352"/>
                  <a:ext cx="379889" cy="379889"/>
                </a:xfrm>
                <a:prstGeom prst="rect">
                  <a:avLst/>
                </a:prstGeom>
              </p:spPr>
            </p:pic>
            <p:pic>
              <p:nvPicPr>
                <p:cNvPr id="89" name="Graphic 88">
                  <a:extLst>
                    <a:ext uri="{FF2B5EF4-FFF2-40B4-BE49-F238E27FC236}">
                      <a16:creationId xmlns:a16="http://schemas.microsoft.com/office/drawing/2014/main" id="{D9C8CDB8-E075-465A-B017-843FA51792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rcRect/>
                <a:stretch/>
              </p:blipFill>
              <p:spPr>
                <a:xfrm>
                  <a:off x="5133130" y="3243634"/>
                  <a:ext cx="381000" cy="381000"/>
                </a:xfrm>
                <a:prstGeom prst="rect">
                  <a:avLst/>
                </a:prstGeom>
              </p:spPr>
            </p:pic>
          </p:grpSp>
          <p:pic>
            <p:nvPicPr>
              <p:cNvPr id="100" name="Graphic 8">
                <a:extLst>
                  <a:ext uri="{FF2B5EF4-FFF2-40B4-BE49-F238E27FC236}">
                    <a16:creationId xmlns:a16="http://schemas.microsoft.com/office/drawing/2014/main" id="{4D9FEF76-D5DE-41EA-8857-43E202161B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55228" y="2161014"/>
                <a:ext cx="533437" cy="5334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Picture 100" descr="Route-53.png">
                <a:extLst>
                  <a:ext uri="{FF2B5EF4-FFF2-40B4-BE49-F238E27FC236}">
                    <a16:creationId xmlns:a16="http://schemas.microsoft.com/office/drawing/2014/main" id="{56D9D4ED-A0BB-46B8-A52E-E8AE8D9BBC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20589" y="2421588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02" name="Graphic 31">
                <a:extLst>
                  <a:ext uri="{FF2B5EF4-FFF2-40B4-BE49-F238E27FC236}">
                    <a16:creationId xmlns:a16="http://schemas.microsoft.com/office/drawing/2014/main" id="{9437D7D0-210A-4F6A-AF03-3DEA284882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83145" y="3751184"/>
                <a:ext cx="489364" cy="4893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" name="Picture 102" descr="Direct-Connect.png">
                <a:extLst>
                  <a:ext uri="{FF2B5EF4-FFF2-40B4-BE49-F238E27FC236}">
                    <a16:creationId xmlns:a16="http://schemas.microsoft.com/office/drawing/2014/main" id="{08FF1763-3E85-4648-A6CF-42E00D518C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86453" y="5129725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09" name="TextBox 16">
                <a:extLst>
                  <a:ext uri="{FF2B5EF4-FFF2-40B4-BE49-F238E27FC236}">
                    <a16:creationId xmlns:a16="http://schemas.microsoft.com/office/drawing/2014/main" id="{F215953B-8677-45EF-BCE6-0E701B5845B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772964" y="4258607"/>
                <a:ext cx="884178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3</a:t>
                </a:r>
              </a:p>
            </p:txBody>
          </p:sp>
          <p:sp>
            <p:nvSpPr>
              <p:cNvPr id="110" name="TextBox 16">
                <a:extLst>
                  <a:ext uri="{FF2B5EF4-FFF2-40B4-BE49-F238E27FC236}">
                    <a16:creationId xmlns:a16="http://schemas.microsoft.com/office/drawing/2014/main" id="{698A3485-92C8-4C7E-B1A4-A875532F366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772964" y="5669958"/>
                <a:ext cx="884178" cy="430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rect Connect</a:t>
                </a:r>
              </a:p>
            </p:txBody>
          </p:sp>
        </p:grpSp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28A3D569-2F5D-4DCA-9E62-F35394F730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407551" y="1770074"/>
              <a:ext cx="438688" cy="431158"/>
            </a:xfrm>
            <a:prstGeom prst="rect">
              <a:avLst/>
            </a:prstGeom>
            <a:solidFill>
              <a:sysClr val="window" lastClr="FFFFFF"/>
            </a:solidFill>
          </p:spPr>
        </p:pic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BA03DD26-25FC-4845-8D6C-DA327BEEA2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419882" y="1773008"/>
              <a:ext cx="428224" cy="428224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AE8EF564-B930-486C-A504-64927C7FAD0A}"/>
                </a:ext>
              </a:extLst>
            </p:cNvPr>
            <p:cNvSpPr txBox="1"/>
            <p:nvPr/>
          </p:nvSpPr>
          <p:spPr>
            <a:xfrm>
              <a:off x="9297899" y="2230847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obe Target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BD88790A-43E7-456A-AE29-B14934DA9E90}"/>
                </a:ext>
              </a:extLst>
            </p:cNvPr>
            <p:cNvSpPr txBox="1"/>
            <p:nvPr/>
          </p:nvSpPr>
          <p:spPr>
            <a:xfrm>
              <a:off x="8298016" y="2210211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obe Analytics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B2E99F5F-5AF2-462A-9D4A-9FCA6C969E25}"/>
                </a:ext>
              </a:extLst>
            </p:cNvPr>
            <p:cNvSpPr/>
            <p:nvPr/>
          </p:nvSpPr>
          <p:spPr>
            <a:xfrm>
              <a:off x="8179473" y="1180047"/>
              <a:ext cx="1962812" cy="2420510"/>
            </a:xfrm>
            <a:prstGeom prst="rect">
              <a:avLst/>
            </a:prstGeom>
            <a:noFill/>
            <a:ln w="12700">
              <a:solidFill>
                <a:srgbClr val="5A6B8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5A6B8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aS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71BBBB34-5655-4A58-9D2C-86844B8D4D58}"/>
                </a:ext>
              </a:extLst>
            </p:cNvPr>
            <p:cNvSpPr/>
            <p:nvPr/>
          </p:nvSpPr>
          <p:spPr>
            <a:xfrm>
              <a:off x="8185015" y="3755428"/>
              <a:ext cx="1962812" cy="2456915"/>
            </a:xfrm>
            <a:prstGeom prst="rect">
              <a:avLst/>
            </a:prstGeom>
            <a:noFill/>
            <a:ln w="12700">
              <a:solidFill>
                <a:srgbClr val="5A6B8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2920" tIns="91440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5A6B8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EGON </a:t>
              </a:r>
              <a:r>
                <a:rPr lang="en-US" sz="1200" dirty="0" err="1">
                  <a:solidFill>
                    <a:srgbClr val="5A6B8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centre</a:t>
              </a:r>
              <a:endParaRPr lang="en-US" sz="1200" dirty="0">
                <a:solidFill>
                  <a:srgbClr val="5A6B8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1" name="Graphic 120">
              <a:extLst>
                <a:ext uri="{FF2B5EF4-FFF2-40B4-BE49-F238E27FC236}">
                  <a16:creationId xmlns:a16="http://schemas.microsoft.com/office/drawing/2014/main" id="{7C90D21C-D1F3-4332-BA6D-EBF3837C5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8185015" y="3757017"/>
              <a:ext cx="381000" cy="381000"/>
            </a:xfrm>
            <a:prstGeom prst="rect">
              <a:avLst/>
            </a:prstGeom>
          </p:spPr>
        </p:pic>
        <p:pic>
          <p:nvPicPr>
            <p:cNvPr id="125" name="Picture 124" descr="Icon&#10;&#10;Description automatically generated">
              <a:extLst>
                <a:ext uri="{FF2B5EF4-FFF2-40B4-BE49-F238E27FC236}">
                  <a16:creationId xmlns:a16="http://schemas.microsoft.com/office/drawing/2014/main" id="{47FBB245-7B42-45A9-81C0-5E1BB87A1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56145" y="2877646"/>
              <a:ext cx="561638" cy="421553"/>
            </a:xfrm>
            <a:prstGeom prst="rect">
              <a:avLst/>
            </a:prstGeom>
          </p:spPr>
        </p:pic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DF8FECF-8546-4545-84EB-6521FFD7A4A5}"/>
                </a:ext>
              </a:extLst>
            </p:cNvPr>
            <p:cNvSpPr txBox="1"/>
            <p:nvPr/>
          </p:nvSpPr>
          <p:spPr>
            <a:xfrm>
              <a:off x="8306180" y="3322671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tbucket</a:t>
              </a:r>
            </a:p>
          </p:txBody>
        </p: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5EAE0262-42BA-43EC-92EE-CC7C40A083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9351399" y="2877646"/>
              <a:ext cx="396320" cy="437603"/>
            </a:xfrm>
            <a:prstGeom prst="rect">
              <a:avLst/>
            </a:prstGeom>
          </p:spPr>
        </p:pic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A36C7779-C99C-4345-B10B-3F3CF9DBAF40}"/>
                </a:ext>
              </a:extLst>
            </p:cNvPr>
            <p:cNvSpPr txBox="1"/>
            <p:nvPr/>
          </p:nvSpPr>
          <p:spPr>
            <a:xfrm>
              <a:off x="9224232" y="3322671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ira</a:t>
              </a:r>
            </a:p>
          </p:txBody>
        </p:sp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079B5203-A33A-4B67-9929-4C6621F148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 r="49822" b="3361"/>
            <a:stretch/>
          </p:blipFill>
          <p:spPr>
            <a:xfrm>
              <a:off x="8230768" y="5565253"/>
              <a:ext cx="786404" cy="331158"/>
            </a:xfrm>
            <a:prstGeom prst="rect">
              <a:avLst/>
            </a:prstGeom>
          </p:spPr>
        </p:pic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8972CCD8-E7C3-4E09-AD96-FED449939649}"/>
                </a:ext>
              </a:extLst>
            </p:cNvPr>
            <p:cNvSpPr txBox="1"/>
            <p:nvPr/>
          </p:nvSpPr>
          <p:spPr>
            <a:xfrm>
              <a:off x="8293186" y="5902116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ega</a:t>
              </a:r>
              <a:endParaRPr lang="en-US"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3" name="Picture 132" descr="Icon&#10;&#10;Description automatically generated">
              <a:extLst>
                <a:ext uri="{FF2B5EF4-FFF2-40B4-BE49-F238E27FC236}">
                  <a16:creationId xmlns:a16="http://schemas.microsoft.com/office/drawing/2014/main" id="{51EA919D-F06F-43AF-A1EF-37DA171691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93543" y="4131592"/>
              <a:ext cx="734636" cy="734636"/>
            </a:xfrm>
            <a:prstGeom prst="rect">
              <a:avLst/>
            </a:prstGeom>
          </p:spPr>
        </p:pic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030FBDEB-ABAF-4BEC-9171-2747B21B7B11}"/>
                </a:ext>
              </a:extLst>
            </p:cNvPr>
            <p:cNvSpPr txBox="1"/>
            <p:nvPr/>
          </p:nvSpPr>
          <p:spPr>
            <a:xfrm>
              <a:off x="8344838" y="4774515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ve Directory</a:t>
              </a:r>
            </a:p>
          </p:txBody>
        </p:sp>
        <p:pic>
          <p:nvPicPr>
            <p:cNvPr id="136" name="Picture 135" descr="Logo&#10;&#10;Description automatically generated">
              <a:extLst>
                <a:ext uri="{FF2B5EF4-FFF2-40B4-BE49-F238E27FC236}">
                  <a16:creationId xmlns:a16="http://schemas.microsoft.com/office/drawing/2014/main" id="{6AE7E76D-0F5D-41A7-A198-0A22F6D645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900" t="20645" r="33826" b="19034"/>
            <a:stretch/>
          </p:blipFill>
          <p:spPr>
            <a:xfrm>
              <a:off x="9407551" y="4222838"/>
              <a:ext cx="411997" cy="546977"/>
            </a:xfrm>
            <a:prstGeom prst="rect">
              <a:avLst/>
            </a:prstGeom>
          </p:spPr>
        </p:pic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6FB229B8-8CF0-4F3B-B269-B0AF6B4A4102}"/>
                </a:ext>
              </a:extLst>
            </p:cNvPr>
            <p:cNvSpPr txBox="1"/>
            <p:nvPr/>
          </p:nvSpPr>
          <p:spPr>
            <a:xfrm>
              <a:off x="9302314" y="4781202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enkins </a:t>
              </a:r>
            </a:p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I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8F24A79B-04D9-4397-A882-30E102E6541A}"/>
                </a:ext>
              </a:extLst>
            </p:cNvPr>
            <p:cNvGrpSpPr/>
            <p:nvPr/>
          </p:nvGrpSpPr>
          <p:grpSpPr>
            <a:xfrm>
              <a:off x="9416579" y="5522721"/>
              <a:ext cx="347052" cy="381797"/>
              <a:chOff x="10880929" y="4118451"/>
              <a:chExt cx="534837" cy="681416"/>
            </a:xfrm>
          </p:grpSpPr>
          <p:pic>
            <p:nvPicPr>
              <p:cNvPr id="138" name="Graphic 21">
                <a:extLst>
                  <a:ext uri="{FF2B5EF4-FFF2-40B4-BE49-F238E27FC236}">
                    <a16:creationId xmlns:a16="http://schemas.microsoft.com/office/drawing/2014/main" id="{09E219F2-5154-48AF-990B-3D0504A112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80929" y="4298257"/>
                <a:ext cx="325459" cy="325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9" name="Graphic 21">
                <a:extLst>
                  <a:ext uri="{FF2B5EF4-FFF2-40B4-BE49-F238E27FC236}">
                    <a16:creationId xmlns:a16="http://schemas.microsoft.com/office/drawing/2014/main" id="{1E249CF8-DE86-4711-AC43-A137C3E056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81787" y="4474408"/>
                <a:ext cx="325459" cy="325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0" name="Graphic 21">
                <a:extLst>
                  <a:ext uri="{FF2B5EF4-FFF2-40B4-BE49-F238E27FC236}">
                    <a16:creationId xmlns:a16="http://schemas.microsoft.com/office/drawing/2014/main" id="{5B17E1BD-6D35-4901-B4A3-0F56D1D338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90307" y="4118451"/>
                <a:ext cx="325459" cy="325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8E351E89-A556-4359-997B-C1092B35273F}"/>
                </a:ext>
              </a:extLst>
            </p:cNvPr>
            <p:cNvSpPr txBox="1"/>
            <p:nvPr/>
          </p:nvSpPr>
          <p:spPr>
            <a:xfrm>
              <a:off x="9266764" y="5903233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th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787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52519E-398E-4BA6-9C3E-BBEB15F99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00877"/>
          </a:xfrm>
        </p:spPr>
        <p:txBody>
          <a:bodyPr/>
          <a:lstStyle/>
          <a:p>
            <a:r>
              <a:rPr lang="en-GB" dirty="0"/>
              <a:t>Physical topology – Staging / UAT environment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78FC8C21-ABEC-4520-8365-23C26FB95870}"/>
              </a:ext>
            </a:extLst>
          </p:cNvPr>
          <p:cNvGrpSpPr/>
          <p:nvPr/>
        </p:nvGrpSpPr>
        <p:grpSpPr>
          <a:xfrm>
            <a:off x="1579241" y="1116250"/>
            <a:ext cx="8185813" cy="5032297"/>
            <a:chOff x="1962014" y="1180046"/>
            <a:chExt cx="8185813" cy="5032297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5DAAE662-C081-4470-AA41-4DD0AFDA9351}"/>
                </a:ext>
              </a:extLst>
            </p:cNvPr>
            <p:cNvGrpSpPr/>
            <p:nvPr/>
          </p:nvGrpSpPr>
          <p:grpSpPr>
            <a:xfrm>
              <a:off x="1962014" y="1180046"/>
              <a:ext cx="6029830" cy="5032297"/>
              <a:chOff x="2663763" y="1615981"/>
              <a:chExt cx="6029830" cy="5032297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D0581502-DB7D-44FE-9DFA-C82363B30D13}"/>
                  </a:ext>
                </a:extLst>
              </p:cNvPr>
              <p:cNvSpPr/>
              <p:nvPr/>
            </p:nvSpPr>
            <p:spPr bwMode="auto">
              <a:xfrm>
                <a:off x="2663763" y="1619265"/>
                <a:ext cx="5993380" cy="5029013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02920" tIns="91440"/>
              <a:lstStyle/>
              <a:p>
                <a:pPr algn="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WS Region - London</a:t>
                </a:r>
              </a:p>
            </p:txBody>
          </p:sp>
          <p:sp>
            <p:nvSpPr>
              <p:cNvPr id="9" name="TextBox 14">
                <a:extLst>
                  <a:ext uri="{FF2B5EF4-FFF2-40B4-BE49-F238E27FC236}">
                    <a16:creationId xmlns:a16="http://schemas.microsoft.com/office/drawing/2014/main" id="{54A465A9-97F5-4809-AAE1-B36ABB3D41D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466971" y="2287605"/>
                <a:ext cx="1241716" cy="2679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oad Balancer</a:t>
                </a:r>
              </a:p>
            </p:txBody>
          </p:sp>
          <p:sp>
            <p:nvSpPr>
              <p:cNvPr id="11" name="TextBox 16">
                <a:extLst>
                  <a:ext uri="{FF2B5EF4-FFF2-40B4-BE49-F238E27FC236}">
                    <a16:creationId xmlns:a16="http://schemas.microsoft.com/office/drawing/2014/main" id="{04A21B75-9C28-4689-888B-80812C5AF69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09415" y="2888038"/>
                <a:ext cx="884178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oute 53</a:t>
                </a: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D29F424F-1F28-4B80-B0DD-69E1A4D86B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/>
              <a:stretch/>
            </p:blipFill>
            <p:spPr>
              <a:xfrm>
                <a:off x="2663763" y="1615981"/>
                <a:ext cx="381000" cy="381000"/>
              </a:xfrm>
              <a:prstGeom prst="rect">
                <a:avLst/>
              </a:prstGeom>
            </p:spPr>
          </p:pic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14D2A341-2EF4-4E57-ABE7-7B1C7E34FDF7}"/>
                  </a:ext>
                </a:extLst>
              </p:cNvPr>
              <p:cNvGrpSpPr/>
              <p:nvPr/>
            </p:nvGrpSpPr>
            <p:grpSpPr>
              <a:xfrm>
                <a:off x="2743782" y="2154570"/>
                <a:ext cx="4954190" cy="4439933"/>
                <a:chOff x="1808117" y="1673788"/>
                <a:chExt cx="4954190" cy="4439933"/>
              </a:xfrm>
            </p:grpSpPr>
            <p:sp>
              <p:nvSpPr>
                <p:cNvPr id="4" name="Rectangle 3">
                  <a:extLst>
                    <a:ext uri="{FF2B5EF4-FFF2-40B4-BE49-F238E27FC236}">
                      <a16:creationId xmlns:a16="http://schemas.microsoft.com/office/drawing/2014/main" id="{EAFEB8D5-F73B-4F70-AEDE-329BDE081200}"/>
                    </a:ext>
                  </a:extLst>
                </p:cNvPr>
                <p:cNvSpPr/>
                <p:nvPr/>
              </p:nvSpPr>
              <p:spPr bwMode="auto">
                <a:xfrm>
                  <a:off x="1810829" y="1675220"/>
                  <a:ext cx="4951478" cy="4438501"/>
                </a:xfrm>
                <a:prstGeom prst="rect">
                  <a:avLst/>
                </a:prstGeom>
                <a:noFill/>
                <a:ln w="12700">
                  <a:solidFill>
                    <a:srgbClr val="1E89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02920" tIns="91440"/>
                <a:lstStyle/>
                <a:p>
                  <a:pPr algn="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ln w="0"/>
                      <a:solidFill>
                        <a:srgbClr val="1E89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VPC</a:t>
                  </a:r>
                </a:p>
              </p:txBody>
            </p:sp>
            <p:pic>
              <p:nvPicPr>
                <p:cNvPr id="25" name="Graphic 24">
                  <a:extLst>
                    <a:ext uri="{FF2B5EF4-FFF2-40B4-BE49-F238E27FC236}">
                      <a16:creationId xmlns:a16="http://schemas.microsoft.com/office/drawing/2014/main" id="{0E8A498C-9F88-4E20-848C-DAD45F5DE9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08117" y="1673788"/>
                  <a:ext cx="381000" cy="381000"/>
                </a:xfrm>
                <a:prstGeom prst="rect">
                  <a:avLst/>
                </a:prstGeom>
              </p:spPr>
            </p:pic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9CB3E52B-1C19-4E01-BD54-4C20F460B76A}"/>
                  </a:ext>
                </a:extLst>
              </p:cNvPr>
              <p:cNvGrpSpPr/>
              <p:nvPr/>
            </p:nvGrpSpPr>
            <p:grpSpPr>
              <a:xfrm>
                <a:off x="2840253" y="2620811"/>
                <a:ext cx="2095500" cy="3867150"/>
                <a:chOff x="1915221" y="2118763"/>
                <a:chExt cx="2095500" cy="386715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81DC7AC5-0F7E-429A-BB3B-ACED632E140F}"/>
                    </a:ext>
                  </a:extLst>
                </p:cNvPr>
                <p:cNvGrpSpPr/>
                <p:nvPr/>
              </p:nvGrpSpPr>
              <p:grpSpPr>
                <a:xfrm>
                  <a:off x="2008614" y="2214848"/>
                  <a:ext cx="1941271" cy="889002"/>
                  <a:chOff x="2997444" y="2373443"/>
                  <a:chExt cx="1941271" cy="889002"/>
                </a:xfrm>
              </p:grpSpPr>
              <p:sp>
                <p:nvSpPr>
                  <p:cNvPr id="35" name="Rectangle 34">
                    <a:extLst>
                      <a:ext uri="{FF2B5EF4-FFF2-40B4-BE49-F238E27FC236}">
                        <a16:creationId xmlns:a16="http://schemas.microsoft.com/office/drawing/2014/main" id="{3DEF343A-0D4A-4704-95E2-E36C8F53B28B}"/>
                      </a:ext>
                    </a:extLst>
                  </p:cNvPr>
                  <p:cNvSpPr/>
                  <p:nvPr/>
                </p:nvSpPr>
                <p:spPr>
                  <a:xfrm>
                    <a:off x="2997444" y="2373443"/>
                    <a:ext cx="1941271" cy="889002"/>
                  </a:xfrm>
                  <a:prstGeom prst="rect">
                    <a:avLst/>
                  </a:prstGeom>
                  <a:solidFill>
                    <a:srgbClr val="E1F2D4">
                      <a:alpha val="20000"/>
                    </a:srgbClr>
                  </a:solidFill>
                  <a:ln w="12700">
                    <a:solidFill>
                      <a:srgbClr val="92D050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02920" anchor="t"/>
                  <a:lstStyle/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ublic </a:t>
                    </a:r>
                  </a:p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ubnet</a:t>
                    </a:r>
                  </a:p>
                </p:txBody>
              </p:sp>
              <p:pic>
                <p:nvPicPr>
                  <p:cNvPr id="36" name="Graphic 35">
                    <a:extLst>
                      <a:ext uri="{FF2B5EF4-FFF2-40B4-BE49-F238E27FC236}">
                        <a16:creationId xmlns:a16="http://schemas.microsoft.com/office/drawing/2014/main" id="{AE494E20-C6F6-4E84-A417-E086DF9BE0C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rcRect/>
                  <a:stretch/>
                </p:blipFill>
                <p:spPr>
                  <a:xfrm>
                    <a:off x="2998080" y="2375031"/>
                    <a:ext cx="381000" cy="38100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477BDB4A-87F6-41D8-877F-9BD1BA6FEE24}"/>
                    </a:ext>
                  </a:extLst>
                </p:cNvPr>
                <p:cNvGrpSpPr/>
                <p:nvPr/>
              </p:nvGrpSpPr>
              <p:grpSpPr>
                <a:xfrm>
                  <a:off x="1915221" y="2118763"/>
                  <a:ext cx="2095500" cy="3867150"/>
                  <a:chOff x="1915221" y="2118763"/>
                  <a:chExt cx="2095500" cy="3867150"/>
                </a:xfrm>
              </p:grpSpPr>
              <p:grpSp>
                <p:nvGrpSpPr>
                  <p:cNvPr id="53" name="Group 52">
                    <a:extLst>
                      <a:ext uri="{FF2B5EF4-FFF2-40B4-BE49-F238E27FC236}">
                        <a16:creationId xmlns:a16="http://schemas.microsoft.com/office/drawing/2014/main" id="{C4DE79FA-393E-4F3C-ABCE-148A7C714B10}"/>
                      </a:ext>
                    </a:extLst>
                  </p:cNvPr>
                  <p:cNvGrpSpPr/>
                  <p:nvPr/>
                </p:nvGrpSpPr>
                <p:grpSpPr>
                  <a:xfrm>
                    <a:off x="2008613" y="4434135"/>
                    <a:ext cx="1924993" cy="1168822"/>
                    <a:chOff x="2944278" y="4443873"/>
                    <a:chExt cx="1924993" cy="1168822"/>
                  </a:xfrm>
                </p:grpSpPr>
                <p:sp>
                  <p:nvSpPr>
                    <p:cNvPr id="34" name="Rectangle 33">
                      <a:extLst>
                        <a:ext uri="{FF2B5EF4-FFF2-40B4-BE49-F238E27FC236}">
                          <a16:creationId xmlns:a16="http://schemas.microsoft.com/office/drawing/2014/main" id="{84570DDF-B7EE-43D5-999B-130DAA1FCA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44278" y="4443873"/>
                      <a:ext cx="1924993" cy="1168822"/>
                    </a:xfrm>
                    <a:prstGeom prst="rect">
                      <a:avLst/>
                    </a:prstGeom>
                    <a:solidFill>
                      <a:srgbClr val="C1F3FF">
                        <a:alpha val="15000"/>
                      </a:srgbClr>
                    </a:solidFill>
                    <a:ln w="12700">
                      <a:solidFill>
                        <a:schemeClr val="bg2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502920"/>
                    <a:lstStyle/>
                    <a:p>
                      <a:pPr algn="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vate </a:t>
                      </a:r>
                    </a:p>
                    <a:p>
                      <a:pPr algn="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net</a:t>
                      </a:r>
                    </a:p>
                  </p:txBody>
                </p:sp>
                <p:pic>
                  <p:nvPicPr>
                    <p:cNvPr id="37" name="Graphic 36">
                      <a:extLst>
                        <a:ext uri="{FF2B5EF4-FFF2-40B4-BE49-F238E27FC236}">
                          <a16:creationId xmlns:a16="http://schemas.microsoft.com/office/drawing/2014/main" id="{453645A5-BA7D-4F69-85F6-858220A4DD8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2949041" y="4445461"/>
                      <a:ext cx="381000" cy="381000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6" name="Rectangle 5">
                    <a:extLst>
                      <a:ext uri="{FF2B5EF4-FFF2-40B4-BE49-F238E27FC236}">
                        <a16:creationId xmlns:a16="http://schemas.microsoft.com/office/drawing/2014/main" id="{F70B4753-A2C3-4ECC-A5FF-75410FE9588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915221" y="2118763"/>
                    <a:ext cx="2095500" cy="3867150"/>
                  </a:xfrm>
                  <a:prstGeom prst="rect">
                    <a:avLst/>
                  </a:prstGeom>
                  <a:noFill/>
                  <a:ln w="12700">
                    <a:solidFill>
                      <a:srgbClr val="5B9CD5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tIns="91440" anchor="b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vailability Zone 1</a:t>
                    </a:r>
                  </a:p>
                </p:txBody>
              </p:sp>
              <p:pic>
                <p:nvPicPr>
                  <p:cNvPr id="12" name="Graphic 17">
                    <a:extLst>
                      <a:ext uri="{FF2B5EF4-FFF2-40B4-BE49-F238E27FC236}">
                        <a16:creationId xmlns:a16="http://schemas.microsoft.com/office/drawing/2014/main" id="{C9A8CB7E-F458-4F46-A0BB-AC6E4F1F1FF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720351" y="3534443"/>
                    <a:ext cx="469900" cy="4699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3" name="TextBox 18">
                    <a:extLst>
                      <a:ext uri="{FF2B5EF4-FFF2-40B4-BE49-F238E27FC236}">
                        <a16:creationId xmlns:a16="http://schemas.microsoft.com/office/drawing/2014/main" id="{1525C0D8-FBE5-47FA-9717-2E252CBED1CE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071124" y="3979813"/>
                    <a:ext cx="1767152" cy="26161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algn="ctr" eaLnBrk="1" hangingPunct="1"/>
                    <a:r>
                      <a:rPr lang="en-US" altLang="en-US" sz="1100" dirty="0">
                        <a:solidFill>
                          <a:srgbClr val="232F3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EM Publish 1</a:t>
                    </a:r>
                  </a:p>
                </p:txBody>
              </p:sp>
              <p:pic>
                <p:nvPicPr>
                  <p:cNvPr id="16" name="Graphic 21">
                    <a:extLst>
                      <a:ext uri="{FF2B5EF4-FFF2-40B4-BE49-F238E27FC236}">
                        <a16:creationId xmlns:a16="http://schemas.microsoft.com/office/drawing/2014/main" id="{903E504D-AAF2-4F03-B952-C0CE508DF27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88452" y="4828815"/>
                    <a:ext cx="469900" cy="4699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7" name="TextBox 22">
                    <a:extLst>
                      <a:ext uri="{FF2B5EF4-FFF2-40B4-BE49-F238E27FC236}">
                        <a16:creationId xmlns:a16="http://schemas.microsoft.com/office/drawing/2014/main" id="{498F81B5-F018-4A82-A383-BF400A95595A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039225" y="5274429"/>
                    <a:ext cx="1767152" cy="26161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algn="ctr" eaLnBrk="1" hangingPunct="1"/>
                    <a:r>
                      <a:rPr lang="en-US" altLang="en-US" sz="1100" dirty="0">
                        <a:solidFill>
                          <a:srgbClr val="232F3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EM Author</a:t>
                    </a:r>
                  </a:p>
                </p:txBody>
              </p:sp>
              <p:grpSp>
                <p:nvGrpSpPr>
                  <p:cNvPr id="50" name="Group 49">
                    <a:extLst>
                      <a:ext uri="{FF2B5EF4-FFF2-40B4-BE49-F238E27FC236}">
                        <a16:creationId xmlns:a16="http://schemas.microsoft.com/office/drawing/2014/main" id="{6F31A5E1-E2FA-475C-9710-5AC02327B7E0}"/>
                      </a:ext>
                    </a:extLst>
                  </p:cNvPr>
                  <p:cNvGrpSpPr/>
                  <p:nvPr/>
                </p:nvGrpSpPr>
                <p:grpSpPr>
                  <a:xfrm>
                    <a:off x="2071124" y="2273154"/>
                    <a:ext cx="1767152" cy="706980"/>
                    <a:chOff x="3006789" y="2527443"/>
                    <a:chExt cx="1767152" cy="706980"/>
                  </a:xfrm>
                </p:grpSpPr>
                <p:pic>
                  <p:nvPicPr>
                    <p:cNvPr id="28" name="Graphic 17">
                      <a:extLst>
                        <a:ext uri="{FF2B5EF4-FFF2-40B4-BE49-F238E27FC236}">
                          <a16:creationId xmlns:a16="http://schemas.microsoft.com/office/drawing/2014/main" id="{B7E291E0-CE25-4FEB-B2E6-0B6336FFB5D8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0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56016" y="2527443"/>
                      <a:ext cx="469900" cy="46990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29" name="TextBox 18">
                      <a:extLst>
                        <a:ext uri="{FF2B5EF4-FFF2-40B4-BE49-F238E27FC236}">
                          <a16:creationId xmlns:a16="http://schemas.microsoft.com/office/drawing/2014/main" id="{444FBF75-3A3D-4525-94B8-E8714D677DB8}"/>
                        </a:ext>
                      </a:extLst>
                    </p:cNvPr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3006789" y="2972813"/>
                      <a:ext cx="1767152" cy="26161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>
                      <a:spAutoFit/>
                    </a:bodyPr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algn="ctr" eaLnBrk="1" hangingPunct="1"/>
                      <a:r>
                        <a:rPr lang="en-US" altLang="en-US" sz="1100" dirty="0">
                          <a:solidFill>
                            <a:srgbClr val="232F3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atcher 1</a:t>
                      </a:r>
                    </a:p>
                  </p:txBody>
                </p:sp>
                <p:pic>
                  <p:nvPicPr>
                    <p:cNvPr id="40" name="Picture 4" descr="See the source image">
                      <a:extLst>
                        <a:ext uri="{FF2B5EF4-FFF2-40B4-BE49-F238E27FC236}">
                          <a16:creationId xmlns:a16="http://schemas.microsoft.com/office/drawing/2014/main" id="{5BC98AD1-0519-4E84-9B16-D639E4EA2531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1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763230" y="2628924"/>
                      <a:ext cx="288203" cy="288203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  <p:pic>
                <p:nvPicPr>
                  <p:cNvPr id="41" name="Picture 40">
                    <a:extLst>
                      <a:ext uri="{FF2B5EF4-FFF2-40B4-BE49-F238E27FC236}">
                        <a16:creationId xmlns:a16="http://schemas.microsoft.com/office/drawing/2014/main" id="{7827DD4D-9E08-4860-856A-D0FED6FF8BB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2918073" y="4733754"/>
                    <a:ext cx="379889" cy="379889"/>
                  </a:xfrm>
                  <a:prstGeom prst="rect">
                    <a:avLst/>
                  </a:prstGeom>
                </p:spPr>
              </p:pic>
              <p:pic>
                <p:nvPicPr>
                  <p:cNvPr id="42" name="Picture 41">
                    <a:extLst>
                      <a:ext uri="{FF2B5EF4-FFF2-40B4-BE49-F238E27FC236}">
                        <a16:creationId xmlns:a16="http://schemas.microsoft.com/office/drawing/2014/main" id="{EC45FB05-AA84-41F0-A42D-CF59ED62041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/>
                  <a:stretch>
                    <a:fillRect/>
                  </a:stretch>
                </p:blipFill>
                <p:spPr>
                  <a:xfrm>
                    <a:off x="2944430" y="3429442"/>
                    <a:ext cx="379889" cy="379889"/>
                  </a:xfrm>
                  <a:prstGeom prst="rect">
                    <a:avLst/>
                  </a:prstGeom>
                </p:spPr>
              </p:pic>
              <p:grpSp>
                <p:nvGrpSpPr>
                  <p:cNvPr id="49" name="Group 48">
                    <a:extLst>
                      <a:ext uri="{FF2B5EF4-FFF2-40B4-BE49-F238E27FC236}">
                        <a16:creationId xmlns:a16="http://schemas.microsoft.com/office/drawing/2014/main" id="{B684697E-43E7-4496-ABD9-B587173A8A3F}"/>
                      </a:ext>
                    </a:extLst>
                  </p:cNvPr>
                  <p:cNvGrpSpPr/>
                  <p:nvPr/>
                </p:nvGrpSpPr>
                <p:grpSpPr>
                  <a:xfrm>
                    <a:off x="1992336" y="3249136"/>
                    <a:ext cx="1941271" cy="1014846"/>
                    <a:chOff x="2864203" y="3429000"/>
                    <a:chExt cx="1941271" cy="1014846"/>
                  </a:xfrm>
                </p:grpSpPr>
                <p:sp>
                  <p:nvSpPr>
                    <p:cNvPr id="47" name="Rectangle 46">
                      <a:extLst>
                        <a:ext uri="{FF2B5EF4-FFF2-40B4-BE49-F238E27FC236}">
                          <a16:creationId xmlns:a16="http://schemas.microsoft.com/office/drawing/2014/main" id="{6971D440-C3A4-493A-8DDD-65545533DC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64203" y="3429000"/>
                      <a:ext cx="1941271" cy="1014846"/>
                    </a:xfrm>
                    <a:prstGeom prst="rect">
                      <a:avLst/>
                    </a:prstGeom>
                    <a:solidFill>
                      <a:srgbClr val="E1F2D4">
                        <a:alpha val="20000"/>
                      </a:srgbClr>
                    </a:solidFill>
                    <a:ln w="12700">
                      <a:solidFill>
                        <a:srgbClr val="92D050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502920" anchor="t"/>
                    <a:lstStyle/>
                    <a:p>
                      <a:pPr algn="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c </a:t>
                      </a:r>
                    </a:p>
                    <a:p>
                      <a:pPr algn="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net</a:t>
                      </a:r>
                    </a:p>
                  </p:txBody>
                </p:sp>
                <p:pic>
                  <p:nvPicPr>
                    <p:cNvPr id="48" name="Graphic 47">
                      <a:extLst>
                        <a:ext uri="{FF2B5EF4-FFF2-40B4-BE49-F238E27FC236}">
                          <a16:creationId xmlns:a16="http://schemas.microsoft.com/office/drawing/2014/main" id="{3A1ECB2D-9C83-43C5-AD22-0FE2E797C0C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96DAC541-7B7A-43D3-8B79-37D633B846F1}">
                          <asvg:svgBlip xmlns:asvg="http://schemas.microsoft.com/office/drawing/2016/SVG/main" r:embed="rId7"/>
                        </a:ext>
                      </a:extLst>
                    </a:blip>
                    <a:srcRect/>
                    <a:stretch/>
                  </p:blipFill>
                  <p:spPr>
                    <a:xfrm>
                      <a:off x="2864839" y="3430588"/>
                      <a:ext cx="381000" cy="381000"/>
                    </a:xfrm>
                    <a:prstGeom prst="rect">
                      <a:avLst/>
                    </a:prstGeom>
                  </p:spPr>
                </p:pic>
              </p:grpSp>
            </p:grpSp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40EADE88-B777-4FF0-B180-FBD71DE41E2C}"/>
                  </a:ext>
                </a:extLst>
              </p:cNvPr>
              <p:cNvGrpSpPr/>
              <p:nvPr/>
            </p:nvGrpSpPr>
            <p:grpSpPr>
              <a:xfrm>
                <a:off x="5465608" y="2620811"/>
                <a:ext cx="2095500" cy="3867150"/>
                <a:chOff x="5055379" y="2111673"/>
                <a:chExt cx="2095500" cy="3867150"/>
              </a:xfrm>
            </p:grpSpPr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8BDD8A6F-403F-4F4B-9895-174BDEEE5B4B}"/>
                    </a:ext>
                  </a:extLst>
                </p:cNvPr>
                <p:cNvSpPr/>
                <p:nvPr/>
              </p:nvSpPr>
              <p:spPr>
                <a:xfrm>
                  <a:off x="5132494" y="3242046"/>
                  <a:ext cx="1941271" cy="1014846"/>
                </a:xfrm>
                <a:prstGeom prst="rect">
                  <a:avLst/>
                </a:prstGeom>
                <a:solidFill>
                  <a:srgbClr val="E1F2D4">
                    <a:alpha val="20000"/>
                  </a:srgbClr>
                </a:solidFill>
                <a:ln w="12700">
                  <a:solidFill>
                    <a:srgbClr val="92D050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02920" anchor="t"/>
                <a:lstStyle/>
                <a:p>
                  <a:pPr algn="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ublic </a:t>
                  </a:r>
                </a:p>
                <a:p>
                  <a:pPr algn="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ubnet</a:t>
                  </a:r>
                </a:p>
              </p:txBody>
            </p:sp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94372D2C-6C4F-4157-ADB1-C6BFDD47E488}"/>
                    </a:ext>
                  </a:extLst>
                </p:cNvPr>
                <p:cNvGrpSpPr/>
                <p:nvPr/>
              </p:nvGrpSpPr>
              <p:grpSpPr>
                <a:xfrm>
                  <a:off x="5148772" y="2207758"/>
                  <a:ext cx="1941271" cy="889002"/>
                  <a:chOff x="2997444" y="2373443"/>
                  <a:chExt cx="1941271" cy="889002"/>
                </a:xfrm>
              </p:grpSpPr>
              <p:sp>
                <p:nvSpPr>
                  <p:cNvPr id="95" name="Rectangle 94">
                    <a:extLst>
                      <a:ext uri="{FF2B5EF4-FFF2-40B4-BE49-F238E27FC236}">
                        <a16:creationId xmlns:a16="http://schemas.microsoft.com/office/drawing/2014/main" id="{6410AEA9-037A-4AB3-AD48-71E99D8DC090}"/>
                      </a:ext>
                    </a:extLst>
                  </p:cNvPr>
                  <p:cNvSpPr/>
                  <p:nvPr/>
                </p:nvSpPr>
                <p:spPr>
                  <a:xfrm>
                    <a:off x="2997444" y="2373443"/>
                    <a:ext cx="1941271" cy="889002"/>
                  </a:xfrm>
                  <a:prstGeom prst="rect">
                    <a:avLst/>
                  </a:prstGeom>
                  <a:solidFill>
                    <a:srgbClr val="E1F2D4">
                      <a:alpha val="20000"/>
                    </a:srgbClr>
                  </a:solidFill>
                  <a:ln w="12700">
                    <a:solidFill>
                      <a:srgbClr val="92D050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02920" anchor="t"/>
                  <a:lstStyle/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ublic </a:t>
                    </a:r>
                  </a:p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ubnet</a:t>
                    </a:r>
                  </a:p>
                </p:txBody>
              </p:sp>
              <p:pic>
                <p:nvPicPr>
                  <p:cNvPr id="96" name="Graphic 95">
                    <a:extLst>
                      <a:ext uri="{FF2B5EF4-FFF2-40B4-BE49-F238E27FC236}">
                        <a16:creationId xmlns:a16="http://schemas.microsoft.com/office/drawing/2014/main" id="{AC04042A-490B-4184-BC47-B7B74D177A4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rcRect/>
                  <a:stretch/>
                </p:blipFill>
                <p:spPr>
                  <a:xfrm>
                    <a:off x="2998080" y="2375031"/>
                    <a:ext cx="381000" cy="381000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09D633F0-FF34-43D8-AE82-F6CA25A06625}"/>
                    </a:ext>
                  </a:extLst>
                </p:cNvPr>
                <p:cNvSpPr/>
                <p:nvPr/>
              </p:nvSpPr>
              <p:spPr bwMode="auto">
                <a:xfrm>
                  <a:off x="5055379" y="2111673"/>
                  <a:ext cx="2095500" cy="3867150"/>
                </a:xfrm>
                <a:prstGeom prst="rect">
                  <a:avLst/>
                </a:prstGeom>
                <a:noFill/>
                <a:ln w="12700">
                  <a:solidFill>
                    <a:srgbClr val="5B9CD5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anchor="b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vailability Zone 2</a:t>
                  </a:r>
                </a:p>
              </p:txBody>
            </p:sp>
            <p:pic>
              <p:nvPicPr>
                <p:cNvPr id="80" name="Graphic 17">
                  <a:extLst>
                    <a:ext uri="{FF2B5EF4-FFF2-40B4-BE49-F238E27FC236}">
                      <a16:creationId xmlns:a16="http://schemas.microsoft.com/office/drawing/2014/main" id="{A46079CD-ED0B-475D-852A-8C40E2E54DE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860509" y="3527353"/>
                  <a:ext cx="469900" cy="4699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1" name="TextBox 18">
                  <a:extLst>
                    <a:ext uri="{FF2B5EF4-FFF2-40B4-BE49-F238E27FC236}">
                      <a16:creationId xmlns:a16="http://schemas.microsoft.com/office/drawing/2014/main" id="{0C4F7349-2E0E-403D-B5B9-EE7E239316B9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211282" y="3972723"/>
                  <a:ext cx="1767152" cy="2616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algn="ctr" eaLnBrk="1" hangingPunct="1"/>
                  <a:r>
                    <a:rPr lang="en-US" altLang="en-US" sz="1100" dirty="0">
                      <a:solidFill>
                        <a:srgbClr val="232F3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EM Publish 2</a:t>
                  </a:r>
                </a:p>
              </p:txBody>
            </p:sp>
            <p:grpSp>
              <p:nvGrpSpPr>
                <p:cNvPr id="84" name="Group 83">
                  <a:extLst>
                    <a:ext uri="{FF2B5EF4-FFF2-40B4-BE49-F238E27FC236}">
                      <a16:creationId xmlns:a16="http://schemas.microsoft.com/office/drawing/2014/main" id="{AEBD1FE3-CE68-4C0C-B183-F49C4DF04C76}"/>
                    </a:ext>
                  </a:extLst>
                </p:cNvPr>
                <p:cNvGrpSpPr/>
                <p:nvPr/>
              </p:nvGrpSpPr>
              <p:grpSpPr>
                <a:xfrm>
                  <a:off x="5211282" y="2266064"/>
                  <a:ext cx="1767152" cy="706980"/>
                  <a:chOff x="3006789" y="2527443"/>
                  <a:chExt cx="1767152" cy="706980"/>
                </a:xfrm>
              </p:grpSpPr>
              <p:pic>
                <p:nvPicPr>
                  <p:cNvPr id="90" name="Graphic 17">
                    <a:extLst>
                      <a:ext uri="{FF2B5EF4-FFF2-40B4-BE49-F238E27FC236}">
                        <a16:creationId xmlns:a16="http://schemas.microsoft.com/office/drawing/2014/main" id="{101FA5E8-EBDC-4BDA-8D40-BC1C6B95339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656016" y="2527443"/>
                    <a:ext cx="469900" cy="4699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91" name="TextBox 18">
                    <a:extLst>
                      <a:ext uri="{FF2B5EF4-FFF2-40B4-BE49-F238E27FC236}">
                        <a16:creationId xmlns:a16="http://schemas.microsoft.com/office/drawing/2014/main" id="{FCD48D24-4A72-463D-A810-BF8DECF77E08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006789" y="2972813"/>
                    <a:ext cx="1767152" cy="26161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algn="ctr" eaLnBrk="1" hangingPunct="1"/>
                    <a:r>
                      <a:rPr lang="en-US" altLang="en-US" sz="1100" dirty="0">
                        <a:solidFill>
                          <a:srgbClr val="232F3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ispatcher 2</a:t>
                    </a:r>
                  </a:p>
                </p:txBody>
              </p:sp>
              <p:pic>
                <p:nvPicPr>
                  <p:cNvPr id="92" name="Picture 4" descr="See the source image">
                    <a:extLst>
                      <a:ext uri="{FF2B5EF4-FFF2-40B4-BE49-F238E27FC236}">
                        <a16:creationId xmlns:a16="http://schemas.microsoft.com/office/drawing/2014/main" id="{7CDFF747-EC34-4342-AC34-FDE09706C78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1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763230" y="2628924"/>
                    <a:ext cx="288203" cy="28820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86" name="Picture 85">
                  <a:extLst>
                    <a:ext uri="{FF2B5EF4-FFF2-40B4-BE49-F238E27FC236}">
                      <a16:creationId xmlns:a16="http://schemas.microsoft.com/office/drawing/2014/main" id="{E9681838-4135-4F18-B918-BD6484DEB7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6084588" y="3422352"/>
                  <a:ext cx="379889" cy="379889"/>
                </a:xfrm>
                <a:prstGeom prst="rect">
                  <a:avLst/>
                </a:prstGeom>
              </p:spPr>
            </p:pic>
            <p:pic>
              <p:nvPicPr>
                <p:cNvPr id="89" name="Graphic 88">
                  <a:extLst>
                    <a:ext uri="{FF2B5EF4-FFF2-40B4-BE49-F238E27FC236}">
                      <a16:creationId xmlns:a16="http://schemas.microsoft.com/office/drawing/2014/main" id="{D9C8CDB8-E075-465A-B017-843FA51792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rcRect/>
                <a:stretch/>
              </p:blipFill>
              <p:spPr>
                <a:xfrm>
                  <a:off x="5133130" y="3243634"/>
                  <a:ext cx="381000" cy="381000"/>
                </a:xfrm>
                <a:prstGeom prst="rect">
                  <a:avLst/>
                </a:prstGeom>
              </p:spPr>
            </p:pic>
          </p:grpSp>
          <p:pic>
            <p:nvPicPr>
              <p:cNvPr id="100" name="Graphic 8">
                <a:extLst>
                  <a:ext uri="{FF2B5EF4-FFF2-40B4-BE49-F238E27FC236}">
                    <a16:creationId xmlns:a16="http://schemas.microsoft.com/office/drawing/2014/main" id="{4D9FEF76-D5DE-41EA-8857-43E202161B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55228" y="2161014"/>
                <a:ext cx="533437" cy="5334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Picture 100" descr="Route-53.png">
                <a:extLst>
                  <a:ext uri="{FF2B5EF4-FFF2-40B4-BE49-F238E27FC236}">
                    <a16:creationId xmlns:a16="http://schemas.microsoft.com/office/drawing/2014/main" id="{56D9D4ED-A0BB-46B8-A52E-E8AE8D9BBC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20589" y="2421588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02" name="Graphic 31">
                <a:extLst>
                  <a:ext uri="{FF2B5EF4-FFF2-40B4-BE49-F238E27FC236}">
                    <a16:creationId xmlns:a16="http://schemas.microsoft.com/office/drawing/2014/main" id="{9437D7D0-210A-4F6A-AF03-3DEA284882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83145" y="3751184"/>
                <a:ext cx="489364" cy="4893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" name="Picture 102" descr="Direct-Connect.png">
                <a:extLst>
                  <a:ext uri="{FF2B5EF4-FFF2-40B4-BE49-F238E27FC236}">
                    <a16:creationId xmlns:a16="http://schemas.microsoft.com/office/drawing/2014/main" id="{08FF1763-3E85-4648-A6CF-42E00D518C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86453" y="5129725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09" name="TextBox 16">
                <a:extLst>
                  <a:ext uri="{FF2B5EF4-FFF2-40B4-BE49-F238E27FC236}">
                    <a16:creationId xmlns:a16="http://schemas.microsoft.com/office/drawing/2014/main" id="{F215953B-8677-45EF-BCE6-0E701B5845B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772964" y="4258607"/>
                <a:ext cx="884178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3</a:t>
                </a:r>
              </a:p>
            </p:txBody>
          </p:sp>
          <p:sp>
            <p:nvSpPr>
              <p:cNvPr id="110" name="TextBox 16">
                <a:extLst>
                  <a:ext uri="{FF2B5EF4-FFF2-40B4-BE49-F238E27FC236}">
                    <a16:creationId xmlns:a16="http://schemas.microsoft.com/office/drawing/2014/main" id="{698A3485-92C8-4C7E-B1A4-A875532F366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772964" y="5669958"/>
                <a:ext cx="884178" cy="430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100" dirty="0">
                    <a:solidFill>
                      <a:srgbClr val="232F3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rect Connect</a:t>
                </a:r>
              </a:p>
            </p:txBody>
          </p:sp>
        </p:grpSp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28A3D569-2F5D-4DCA-9E62-F35394F730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407551" y="1770074"/>
              <a:ext cx="438688" cy="431158"/>
            </a:xfrm>
            <a:prstGeom prst="rect">
              <a:avLst/>
            </a:prstGeom>
            <a:solidFill>
              <a:sysClr val="window" lastClr="FFFFFF"/>
            </a:solidFill>
          </p:spPr>
        </p:pic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BA03DD26-25FC-4845-8D6C-DA327BEEA2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419882" y="1773008"/>
              <a:ext cx="428224" cy="428224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AE8EF564-B930-486C-A504-64927C7FAD0A}"/>
                </a:ext>
              </a:extLst>
            </p:cNvPr>
            <p:cNvSpPr txBox="1"/>
            <p:nvPr/>
          </p:nvSpPr>
          <p:spPr>
            <a:xfrm>
              <a:off x="9297899" y="2230847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obe Target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BD88790A-43E7-456A-AE29-B14934DA9E90}"/>
                </a:ext>
              </a:extLst>
            </p:cNvPr>
            <p:cNvSpPr txBox="1"/>
            <p:nvPr/>
          </p:nvSpPr>
          <p:spPr>
            <a:xfrm>
              <a:off x="8298016" y="2210211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obe Analytics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B2E99F5F-5AF2-462A-9D4A-9FCA6C969E25}"/>
                </a:ext>
              </a:extLst>
            </p:cNvPr>
            <p:cNvSpPr/>
            <p:nvPr/>
          </p:nvSpPr>
          <p:spPr>
            <a:xfrm>
              <a:off x="8179473" y="1180047"/>
              <a:ext cx="1962812" cy="2420510"/>
            </a:xfrm>
            <a:prstGeom prst="rect">
              <a:avLst/>
            </a:prstGeom>
            <a:noFill/>
            <a:ln w="12700">
              <a:solidFill>
                <a:srgbClr val="5A6B8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5A6B8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aS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71BBBB34-5655-4A58-9D2C-86844B8D4D58}"/>
                </a:ext>
              </a:extLst>
            </p:cNvPr>
            <p:cNvSpPr/>
            <p:nvPr/>
          </p:nvSpPr>
          <p:spPr>
            <a:xfrm>
              <a:off x="8185015" y="3755428"/>
              <a:ext cx="1962812" cy="2456915"/>
            </a:xfrm>
            <a:prstGeom prst="rect">
              <a:avLst/>
            </a:prstGeom>
            <a:noFill/>
            <a:ln w="12700">
              <a:solidFill>
                <a:srgbClr val="5A6B8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2920" tIns="91440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5A6B8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EGON </a:t>
              </a:r>
              <a:r>
                <a:rPr lang="en-US" sz="1200" dirty="0" err="1">
                  <a:solidFill>
                    <a:srgbClr val="5A6B8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centre</a:t>
              </a:r>
              <a:endParaRPr lang="en-US" sz="1200" dirty="0">
                <a:solidFill>
                  <a:srgbClr val="5A6B8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1" name="Graphic 120">
              <a:extLst>
                <a:ext uri="{FF2B5EF4-FFF2-40B4-BE49-F238E27FC236}">
                  <a16:creationId xmlns:a16="http://schemas.microsoft.com/office/drawing/2014/main" id="{7C90D21C-D1F3-4332-BA6D-EBF3837C5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8185015" y="3757017"/>
              <a:ext cx="381000" cy="381000"/>
            </a:xfrm>
            <a:prstGeom prst="rect">
              <a:avLst/>
            </a:prstGeom>
          </p:spPr>
        </p:pic>
        <p:pic>
          <p:nvPicPr>
            <p:cNvPr id="125" name="Picture 124" descr="Icon&#10;&#10;Description automatically generated">
              <a:extLst>
                <a:ext uri="{FF2B5EF4-FFF2-40B4-BE49-F238E27FC236}">
                  <a16:creationId xmlns:a16="http://schemas.microsoft.com/office/drawing/2014/main" id="{47FBB245-7B42-45A9-81C0-5E1BB87A1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56145" y="2877646"/>
              <a:ext cx="561638" cy="421553"/>
            </a:xfrm>
            <a:prstGeom prst="rect">
              <a:avLst/>
            </a:prstGeom>
          </p:spPr>
        </p:pic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DF8FECF-8546-4545-84EB-6521FFD7A4A5}"/>
                </a:ext>
              </a:extLst>
            </p:cNvPr>
            <p:cNvSpPr txBox="1"/>
            <p:nvPr/>
          </p:nvSpPr>
          <p:spPr>
            <a:xfrm>
              <a:off x="8306180" y="3322671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tbucket</a:t>
              </a:r>
            </a:p>
          </p:txBody>
        </p: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5EAE0262-42BA-43EC-92EE-CC7C40A083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9351399" y="2877646"/>
              <a:ext cx="396320" cy="437603"/>
            </a:xfrm>
            <a:prstGeom prst="rect">
              <a:avLst/>
            </a:prstGeom>
          </p:spPr>
        </p:pic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A36C7779-C99C-4345-B10B-3F3CF9DBAF40}"/>
                </a:ext>
              </a:extLst>
            </p:cNvPr>
            <p:cNvSpPr txBox="1"/>
            <p:nvPr/>
          </p:nvSpPr>
          <p:spPr>
            <a:xfrm>
              <a:off x="9224232" y="3322671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ira</a:t>
              </a:r>
            </a:p>
          </p:txBody>
        </p:sp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079B5203-A33A-4B67-9929-4C6621F148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 r="49822" b="3361"/>
            <a:stretch/>
          </p:blipFill>
          <p:spPr>
            <a:xfrm>
              <a:off x="8230768" y="5565253"/>
              <a:ext cx="786404" cy="331158"/>
            </a:xfrm>
            <a:prstGeom prst="rect">
              <a:avLst/>
            </a:prstGeom>
          </p:spPr>
        </p:pic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8972CCD8-E7C3-4E09-AD96-FED449939649}"/>
                </a:ext>
              </a:extLst>
            </p:cNvPr>
            <p:cNvSpPr txBox="1"/>
            <p:nvPr/>
          </p:nvSpPr>
          <p:spPr>
            <a:xfrm>
              <a:off x="8293186" y="5902116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ega</a:t>
              </a:r>
              <a:endParaRPr lang="en-US"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3" name="Picture 132" descr="Icon&#10;&#10;Description automatically generated">
              <a:extLst>
                <a:ext uri="{FF2B5EF4-FFF2-40B4-BE49-F238E27FC236}">
                  <a16:creationId xmlns:a16="http://schemas.microsoft.com/office/drawing/2014/main" id="{51EA919D-F06F-43AF-A1EF-37DA171691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93543" y="4131592"/>
              <a:ext cx="734636" cy="734636"/>
            </a:xfrm>
            <a:prstGeom prst="rect">
              <a:avLst/>
            </a:prstGeom>
          </p:spPr>
        </p:pic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030FBDEB-ABAF-4BEC-9171-2747B21B7B11}"/>
                </a:ext>
              </a:extLst>
            </p:cNvPr>
            <p:cNvSpPr txBox="1"/>
            <p:nvPr/>
          </p:nvSpPr>
          <p:spPr>
            <a:xfrm>
              <a:off x="8344838" y="4774515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ve Directory</a:t>
              </a:r>
            </a:p>
          </p:txBody>
        </p:sp>
        <p:pic>
          <p:nvPicPr>
            <p:cNvPr id="136" name="Picture 135" descr="Logo&#10;&#10;Description automatically generated">
              <a:extLst>
                <a:ext uri="{FF2B5EF4-FFF2-40B4-BE49-F238E27FC236}">
                  <a16:creationId xmlns:a16="http://schemas.microsoft.com/office/drawing/2014/main" id="{6AE7E76D-0F5D-41A7-A198-0A22F6D645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900" t="20645" r="33826" b="19034"/>
            <a:stretch/>
          </p:blipFill>
          <p:spPr>
            <a:xfrm>
              <a:off x="9407551" y="4222838"/>
              <a:ext cx="411997" cy="546977"/>
            </a:xfrm>
            <a:prstGeom prst="rect">
              <a:avLst/>
            </a:prstGeom>
          </p:spPr>
        </p:pic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6FB229B8-8CF0-4F3B-B269-B0AF6B4A4102}"/>
                </a:ext>
              </a:extLst>
            </p:cNvPr>
            <p:cNvSpPr txBox="1"/>
            <p:nvPr/>
          </p:nvSpPr>
          <p:spPr>
            <a:xfrm>
              <a:off x="9302314" y="4781202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enkins </a:t>
              </a:r>
            </a:p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I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8F24A79B-04D9-4397-A882-30E102E6541A}"/>
                </a:ext>
              </a:extLst>
            </p:cNvPr>
            <p:cNvGrpSpPr/>
            <p:nvPr/>
          </p:nvGrpSpPr>
          <p:grpSpPr>
            <a:xfrm>
              <a:off x="9416579" y="5522721"/>
              <a:ext cx="347052" cy="381797"/>
              <a:chOff x="10880929" y="4118451"/>
              <a:chExt cx="534837" cy="681416"/>
            </a:xfrm>
          </p:grpSpPr>
          <p:pic>
            <p:nvPicPr>
              <p:cNvPr id="138" name="Graphic 21">
                <a:extLst>
                  <a:ext uri="{FF2B5EF4-FFF2-40B4-BE49-F238E27FC236}">
                    <a16:creationId xmlns:a16="http://schemas.microsoft.com/office/drawing/2014/main" id="{09E219F2-5154-48AF-990B-3D0504A112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80929" y="4298257"/>
                <a:ext cx="325459" cy="325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9" name="Graphic 21">
                <a:extLst>
                  <a:ext uri="{FF2B5EF4-FFF2-40B4-BE49-F238E27FC236}">
                    <a16:creationId xmlns:a16="http://schemas.microsoft.com/office/drawing/2014/main" id="{1E249CF8-DE86-4711-AC43-A137C3E056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81787" y="4474408"/>
                <a:ext cx="325459" cy="325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0" name="Graphic 21">
                <a:extLst>
                  <a:ext uri="{FF2B5EF4-FFF2-40B4-BE49-F238E27FC236}">
                    <a16:creationId xmlns:a16="http://schemas.microsoft.com/office/drawing/2014/main" id="{5B17E1BD-6D35-4901-B4A3-0F56D1D338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90307" y="4118451"/>
                <a:ext cx="325459" cy="325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8E351E89-A556-4359-997B-C1092B35273F}"/>
                </a:ext>
              </a:extLst>
            </p:cNvPr>
            <p:cNvSpPr txBox="1"/>
            <p:nvPr/>
          </p:nvSpPr>
          <p:spPr>
            <a:xfrm>
              <a:off x="9266764" y="5903233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th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125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52519E-398E-4BA6-9C3E-BBEB15F99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00877"/>
          </a:xfrm>
        </p:spPr>
        <p:txBody>
          <a:bodyPr/>
          <a:lstStyle/>
          <a:p>
            <a:r>
              <a:rPr lang="en-GB" dirty="0"/>
              <a:t>Physical topology – Development environ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03B891E-DA62-4EA5-9B75-BD18E21BEF00}"/>
              </a:ext>
            </a:extLst>
          </p:cNvPr>
          <p:cNvGrpSpPr/>
          <p:nvPr/>
        </p:nvGrpSpPr>
        <p:grpSpPr>
          <a:xfrm>
            <a:off x="2923953" y="1105618"/>
            <a:ext cx="5575827" cy="5032297"/>
            <a:chOff x="4189227" y="1116250"/>
            <a:chExt cx="5575827" cy="503229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0581502-DB7D-44FE-9DFA-C82363B30D13}"/>
                </a:ext>
              </a:extLst>
            </p:cNvPr>
            <p:cNvSpPr/>
            <p:nvPr/>
          </p:nvSpPr>
          <p:spPr bwMode="auto">
            <a:xfrm>
              <a:off x="4189227" y="1119534"/>
              <a:ext cx="3383393" cy="5029013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2920" tIns="91440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WS Region - Ireland</a:t>
              </a:r>
            </a:p>
          </p:txBody>
        </p:sp>
        <p:sp>
          <p:nvSpPr>
            <p:cNvPr id="11" name="TextBox 16">
              <a:extLst>
                <a:ext uri="{FF2B5EF4-FFF2-40B4-BE49-F238E27FC236}">
                  <a16:creationId xmlns:a16="http://schemas.microsoft.com/office/drawing/2014/main" id="{04A21B75-9C28-4689-888B-80812C5AF6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24893" y="2388307"/>
              <a:ext cx="884178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ute 53</a:t>
              </a: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D29F424F-1F28-4B80-B0DD-69E1A4D86B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4189227" y="1116250"/>
              <a:ext cx="381000" cy="381000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AFEB8D5-F73B-4F70-AEDE-329BDE081200}"/>
                </a:ext>
              </a:extLst>
            </p:cNvPr>
            <p:cNvSpPr/>
            <p:nvPr/>
          </p:nvSpPr>
          <p:spPr bwMode="auto">
            <a:xfrm>
              <a:off x="4309805" y="1656271"/>
              <a:ext cx="2314605" cy="4438501"/>
            </a:xfrm>
            <a:prstGeom prst="rect">
              <a:avLst/>
            </a:prstGeom>
            <a:noFill/>
            <a:ln w="12700">
              <a:solidFill>
                <a:srgbClr val="1E8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2920" tIns="91440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ln w="0"/>
                  <a:solidFill>
                    <a:srgbClr val="1E89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PC</a:t>
              </a: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0E8A498C-9F88-4E20-848C-DAD45F5DE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307093" y="1654839"/>
              <a:ext cx="381000" cy="381000"/>
            </a:xfrm>
            <a:prstGeom prst="rect">
              <a:avLst/>
            </a:prstGeom>
          </p:spPr>
        </p:pic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9CB3E52B-1C19-4E01-BD54-4C20F460B76A}"/>
                </a:ext>
              </a:extLst>
            </p:cNvPr>
            <p:cNvGrpSpPr/>
            <p:nvPr/>
          </p:nvGrpSpPr>
          <p:grpSpPr>
            <a:xfrm>
              <a:off x="4403564" y="2121080"/>
              <a:ext cx="2095500" cy="3867150"/>
              <a:chOff x="1915221" y="2118763"/>
              <a:chExt cx="2095500" cy="3867150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81DC7AC5-0F7E-429A-BB3B-ACED632E140F}"/>
                  </a:ext>
                </a:extLst>
              </p:cNvPr>
              <p:cNvGrpSpPr/>
              <p:nvPr/>
            </p:nvGrpSpPr>
            <p:grpSpPr>
              <a:xfrm>
                <a:off x="2008614" y="2214848"/>
                <a:ext cx="1941271" cy="889002"/>
                <a:chOff x="2997444" y="2373443"/>
                <a:chExt cx="1941271" cy="889002"/>
              </a:xfrm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3DEF343A-0D4A-4704-95E2-E36C8F53B28B}"/>
                    </a:ext>
                  </a:extLst>
                </p:cNvPr>
                <p:cNvSpPr/>
                <p:nvPr/>
              </p:nvSpPr>
              <p:spPr>
                <a:xfrm>
                  <a:off x="2997444" y="2373443"/>
                  <a:ext cx="1941271" cy="889002"/>
                </a:xfrm>
                <a:prstGeom prst="rect">
                  <a:avLst/>
                </a:prstGeom>
                <a:solidFill>
                  <a:srgbClr val="E1F2D4">
                    <a:alpha val="20000"/>
                  </a:srgbClr>
                </a:solidFill>
                <a:ln w="12700">
                  <a:solidFill>
                    <a:srgbClr val="92D050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02920" anchor="t"/>
                <a:lstStyle/>
                <a:p>
                  <a:pPr algn="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ublic </a:t>
                  </a:r>
                </a:p>
                <a:p>
                  <a:pPr algn="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ubnet</a:t>
                  </a:r>
                </a:p>
              </p:txBody>
            </p:sp>
            <p:pic>
              <p:nvPicPr>
                <p:cNvPr id="36" name="Graphic 35">
                  <a:extLst>
                    <a:ext uri="{FF2B5EF4-FFF2-40B4-BE49-F238E27FC236}">
                      <a16:creationId xmlns:a16="http://schemas.microsoft.com/office/drawing/2014/main" id="{AE494E20-C6F6-4E84-A417-E086DF9BE0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rcRect/>
                <a:stretch/>
              </p:blipFill>
              <p:spPr>
                <a:xfrm>
                  <a:off x="2998080" y="2375031"/>
                  <a:ext cx="381000" cy="381000"/>
                </a:xfrm>
                <a:prstGeom prst="rect">
                  <a:avLst/>
                </a:prstGeom>
              </p:spPr>
            </p:pic>
          </p:grp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477BDB4A-87F6-41D8-877F-9BD1BA6FEE24}"/>
                  </a:ext>
                </a:extLst>
              </p:cNvPr>
              <p:cNvGrpSpPr/>
              <p:nvPr/>
            </p:nvGrpSpPr>
            <p:grpSpPr>
              <a:xfrm>
                <a:off x="1915221" y="2118763"/>
                <a:ext cx="2095500" cy="3867150"/>
                <a:chOff x="1915221" y="2118763"/>
                <a:chExt cx="2095500" cy="3867150"/>
              </a:xfrm>
            </p:grpSpPr>
            <p:grpSp>
              <p:nvGrpSpPr>
                <p:cNvPr id="53" name="Group 52">
                  <a:extLst>
                    <a:ext uri="{FF2B5EF4-FFF2-40B4-BE49-F238E27FC236}">
                      <a16:creationId xmlns:a16="http://schemas.microsoft.com/office/drawing/2014/main" id="{C4DE79FA-393E-4F3C-ABCE-148A7C714B10}"/>
                    </a:ext>
                  </a:extLst>
                </p:cNvPr>
                <p:cNvGrpSpPr/>
                <p:nvPr/>
              </p:nvGrpSpPr>
              <p:grpSpPr>
                <a:xfrm>
                  <a:off x="2008613" y="4434135"/>
                  <a:ext cx="1924993" cy="1168822"/>
                  <a:chOff x="2944278" y="4443873"/>
                  <a:chExt cx="1924993" cy="1168822"/>
                </a:xfrm>
              </p:grpSpPr>
              <p:sp>
                <p:nvSpPr>
                  <p:cNvPr id="34" name="Rectangle 33">
                    <a:extLst>
                      <a:ext uri="{FF2B5EF4-FFF2-40B4-BE49-F238E27FC236}">
                        <a16:creationId xmlns:a16="http://schemas.microsoft.com/office/drawing/2014/main" id="{84570DDF-B7EE-43D5-999B-130DAA1FCAE9}"/>
                      </a:ext>
                    </a:extLst>
                  </p:cNvPr>
                  <p:cNvSpPr/>
                  <p:nvPr/>
                </p:nvSpPr>
                <p:spPr>
                  <a:xfrm>
                    <a:off x="2944278" y="4443873"/>
                    <a:ext cx="1924993" cy="1168822"/>
                  </a:xfrm>
                  <a:prstGeom prst="rect">
                    <a:avLst/>
                  </a:prstGeom>
                  <a:solidFill>
                    <a:srgbClr val="C1F3FF">
                      <a:alpha val="15000"/>
                    </a:srgbClr>
                  </a:solidFill>
                  <a:ln w="12700">
                    <a:solidFill>
                      <a:schemeClr val="bg2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02920"/>
                  <a:lstStyle/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rivate </a:t>
                    </a:r>
                  </a:p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ubnet</a:t>
                    </a:r>
                  </a:p>
                </p:txBody>
              </p:sp>
              <p:pic>
                <p:nvPicPr>
                  <p:cNvPr id="37" name="Graphic 36">
                    <a:extLst>
                      <a:ext uri="{FF2B5EF4-FFF2-40B4-BE49-F238E27FC236}">
                        <a16:creationId xmlns:a16="http://schemas.microsoft.com/office/drawing/2014/main" id="{453645A5-BA7D-4F69-85F6-858220A4DD8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extLst>
                      <a:ext uri="{96DAC541-7B7A-43D3-8B79-37D633B846F1}">
                        <asvg:svgBlip xmlns:asvg="http://schemas.microsoft.com/office/drawing/2016/SVG/main" r:embed="rId9"/>
                      </a:ext>
                    </a:extLst>
                  </a:blip>
                  <a:srcRect/>
                  <a:stretch/>
                </p:blipFill>
                <p:spPr>
                  <a:xfrm>
                    <a:off x="2949041" y="4445461"/>
                    <a:ext cx="381000" cy="381000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F70B4753-A2C3-4ECC-A5FF-75410FE95885}"/>
                    </a:ext>
                  </a:extLst>
                </p:cNvPr>
                <p:cNvSpPr/>
                <p:nvPr/>
              </p:nvSpPr>
              <p:spPr bwMode="auto">
                <a:xfrm>
                  <a:off x="1915221" y="2118763"/>
                  <a:ext cx="2095500" cy="3867150"/>
                </a:xfrm>
                <a:prstGeom prst="rect">
                  <a:avLst/>
                </a:prstGeom>
                <a:noFill/>
                <a:ln w="12700">
                  <a:solidFill>
                    <a:srgbClr val="5B9CD5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anchor="b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vailability Zone 1</a:t>
                  </a:r>
                </a:p>
              </p:txBody>
            </p:sp>
            <p:pic>
              <p:nvPicPr>
                <p:cNvPr id="12" name="Graphic 17">
                  <a:extLst>
                    <a:ext uri="{FF2B5EF4-FFF2-40B4-BE49-F238E27FC236}">
                      <a16:creationId xmlns:a16="http://schemas.microsoft.com/office/drawing/2014/main" id="{C9A8CB7E-F458-4F46-A0BB-AC6E4F1F1FF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20351" y="3534443"/>
                  <a:ext cx="469900" cy="4699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3" name="TextBox 18">
                  <a:extLst>
                    <a:ext uri="{FF2B5EF4-FFF2-40B4-BE49-F238E27FC236}">
                      <a16:creationId xmlns:a16="http://schemas.microsoft.com/office/drawing/2014/main" id="{1525C0D8-FBE5-47FA-9717-2E252CBED1C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071124" y="3979813"/>
                  <a:ext cx="1767152" cy="2616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algn="ctr" eaLnBrk="1" hangingPunct="1"/>
                  <a:r>
                    <a:rPr lang="en-US" altLang="en-US" sz="1100" dirty="0">
                      <a:solidFill>
                        <a:srgbClr val="232F3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EM Publish 1</a:t>
                  </a:r>
                </a:p>
              </p:txBody>
            </p:sp>
            <p:pic>
              <p:nvPicPr>
                <p:cNvPr id="16" name="Graphic 21">
                  <a:extLst>
                    <a:ext uri="{FF2B5EF4-FFF2-40B4-BE49-F238E27FC236}">
                      <a16:creationId xmlns:a16="http://schemas.microsoft.com/office/drawing/2014/main" id="{903E504D-AAF2-4F03-B952-C0CE508DF27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688452" y="4828815"/>
                  <a:ext cx="469900" cy="4699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7" name="TextBox 22">
                  <a:extLst>
                    <a:ext uri="{FF2B5EF4-FFF2-40B4-BE49-F238E27FC236}">
                      <a16:creationId xmlns:a16="http://schemas.microsoft.com/office/drawing/2014/main" id="{498F81B5-F018-4A82-A383-BF400A95595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039225" y="5274429"/>
                  <a:ext cx="1767152" cy="2616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algn="ctr" eaLnBrk="1" hangingPunct="1"/>
                  <a:r>
                    <a:rPr lang="en-US" altLang="en-US" sz="1100" dirty="0">
                      <a:solidFill>
                        <a:srgbClr val="232F3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EM Author</a:t>
                  </a:r>
                </a:p>
              </p:txBody>
            </p:sp>
            <p:grpSp>
              <p:nvGrpSpPr>
                <p:cNvPr id="50" name="Group 49">
                  <a:extLst>
                    <a:ext uri="{FF2B5EF4-FFF2-40B4-BE49-F238E27FC236}">
                      <a16:creationId xmlns:a16="http://schemas.microsoft.com/office/drawing/2014/main" id="{6F31A5E1-E2FA-475C-9710-5AC02327B7E0}"/>
                    </a:ext>
                  </a:extLst>
                </p:cNvPr>
                <p:cNvGrpSpPr/>
                <p:nvPr/>
              </p:nvGrpSpPr>
              <p:grpSpPr>
                <a:xfrm>
                  <a:off x="2071124" y="2273154"/>
                  <a:ext cx="1767152" cy="706980"/>
                  <a:chOff x="3006789" y="2527443"/>
                  <a:chExt cx="1767152" cy="706980"/>
                </a:xfrm>
              </p:grpSpPr>
              <p:pic>
                <p:nvPicPr>
                  <p:cNvPr id="28" name="Graphic 17">
                    <a:extLst>
                      <a:ext uri="{FF2B5EF4-FFF2-40B4-BE49-F238E27FC236}">
                        <a16:creationId xmlns:a16="http://schemas.microsoft.com/office/drawing/2014/main" id="{B7E291E0-CE25-4FEB-B2E6-0B6336FFB5D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656016" y="2527443"/>
                    <a:ext cx="469900" cy="4699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29" name="TextBox 18">
                    <a:extLst>
                      <a:ext uri="{FF2B5EF4-FFF2-40B4-BE49-F238E27FC236}">
                        <a16:creationId xmlns:a16="http://schemas.microsoft.com/office/drawing/2014/main" id="{444FBF75-3A3D-4525-94B8-E8714D677DB8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006789" y="2972813"/>
                    <a:ext cx="1767152" cy="26161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algn="ctr" eaLnBrk="1" hangingPunct="1"/>
                    <a:r>
                      <a:rPr lang="en-US" altLang="en-US" sz="1100" dirty="0">
                        <a:solidFill>
                          <a:srgbClr val="232F3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ispatcher 1</a:t>
                    </a:r>
                  </a:p>
                </p:txBody>
              </p:sp>
              <p:pic>
                <p:nvPicPr>
                  <p:cNvPr id="40" name="Picture 4" descr="See the source image">
                    <a:extLst>
                      <a:ext uri="{FF2B5EF4-FFF2-40B4-BE49-F238E27FC236}">
                        <a16:creationId xmlns:a16="http://schemas.microsoft.com/office/drawing/2014/main" id="{5BC98AD1-0519-4E84-9B16-D639E4EA253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1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763230" y="2628924"/>
                    <a:ext cx="288203" cy="28820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41" name="Picture 40">
                  <a:extLst>
                    <a:ext uri="{FF2B5EF4-FFF2-40B4-BE49-F238E27FC236}">
                      <a16:creationId xmlns:a16="http://schemas.microsoft.com/office/drawing/2014/main" id="{7827DD4D-9E08-4860-856A-D0FED6FF8B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2918073" y="4733754"/>
                  <a:ext cx="379889" cy="379889"/>
                </a:xfrm>
                <a:prstGeom prst="rect">
                  <a:avLst/>
                </a:prstGeom>
              </p:spPr>
            </p:pic>
            <p:pic>
              <p:nvPicPr>
                <p:cNvPr id="42" name="Picture 41">
                  <a:extLst>
                    <a:ext uri="{FF2B5EF4-FFF2-40B4-BE49-F238E27FC236}">
                      <a16:creationId xmlns:a16="http://schemas.microsoft.com/office/drawing/2014/main" id="{EC45FB05-AA84-41F0-A42D-CF59ED6204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2944430" y="3429442"/>
                  <a:ext cx="379889" cy="379889"/>
                </a:xfrm>
                <a:prstGeom prst="rect">
                  <a:avLst/>
                </a:prstGeom>
              </p:spPr>
            </p:pic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B684697E-43E7-4496-ABD9-B587173A8A3F}"/>
                    </a:ext>
                  </a:extLst>
                </p:cNvPr>
                <p:cNvGrpSpPr/>
                <p:nvPr/>
              </p:nvGrpSpPr>
              <p:grpSpPr>
                <a:xfrm>
                  <a:off x="1992336" y="3249136"/>
                  <a:ext cx="1941271" cy="1014846"/>
                  <a:chOff x="2864203" y="3429000"/>
                  <a:chExt cx="1941271" cy="1014846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6971D440-C3A4-493A-8DDD-65545533DC46}"/>
                      </a:ext>
                    </a:extLst>
                  </p:cNvPr>
                  <p:cNvSpPr/>
                  <p:nvPr/>
                </p:nvSpPr>
                <p:spPr>
                  <a:xfrm>
                    <a:off x="2864203" y="3429000"/>
                    <a:ext cx="1941271" cy="1014846"/>
                  </a:xfrm>
                  <a:prstGeom prst="rect">
                    <a:avLst/>
                  </a:prstGeom>
                  <a:solidFill>
                    <a:srgbClr val="E1F2D4">
                      <a:alpha val="20000"/>
                    </a:srgbClr>
                  </a:solidFill>
                  <a:ln w="12700">
                    <a:solidFill>
                      <a:srgbClr val="92D050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02920" anchor="t"/>
                  <a:lstStyle/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ublic </a:t>
                    </a:r>
                  </a:p>
                  <a:p>
                    <a:pPr algn="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ubnet</a:t>
                    </a:r>
                  </a:p>
                </p:txBody>
              </p:sp>
              <p:pic>
                <p:nvPicPr>
                  <p:cNvPr id="48" name="Graphic 47">
                    <a:extLst>
                      <a:ext uri="{FF2B5EF4-FFF2-40B4-BE49-F238E27FC236}">
                        <a16:creationId xmlns:a16="http://schemas.microsoft.com/office/drawing/2014/main" id="{3A1ECB2D-9C83-43C5-AD22-0FE2E797C0C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rcRect/>
                  <a:stretch/>
                </p:blipFill>
                <p:spPr>
                  <a:xfrm>
                    <a:off x="2864839" y="3430588"/>
                    <a:ext cx="381000" cy="381000"/>
                  </a:xfrm>
                  <a:prstGeom prst="rect">
                    <a:avLst/>
                  </a:prstGeom>
                </p:spPr>
              </p:pic>
            </p:grpSp>
          </p:grpSp>
        </p:grpSp>
        <p:pic>
          <p:nvPicPr>
            <p:cNvPr id="101" name="Picture 100" descr="Route-53.png">
              <a:extLst>
                <a:ext uri="{FF2B5EF4-FFF2-40B4-BE49-F238E27FC236}">
                  <a16:creationId xmlns:a16="http://schemas.microsoft.com/office/drawing/2014/main" id="{56D9D4ED-A0BB-46B8-A52E-E8AE8D9BBC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36067" y="1921857"/>
              <a:ext cx="457200" cy="457200"/>
            </a:xfrm>
            <a:prstGeom prst="rect">
              <a:avLst/>
            </a:prstGeom>
          </p:spPr>
        </p:pic>
        <p:pic>
          <p:nvPicPr>
            <p:cNvPr id="102" name="Graphic 31">
              <a:extLst>
                <a:ext uri="{FF2B5EF4-FFF2-40B4-BE49-F238E27FC236}">
                  <a16:creationId xmlns:a16="http://schemas.microsoft.com/office/drawing/2014/main" id="{9437D7D0-210A-4F6A-AF03-3DEA284882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8623" y="3251453"/>
              <a:ext cx="489364" cy="4893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" name="Picture 102" descr="Direct-Connect.png">
              <a:extLst>
                <a:ext uri="{FF2B5EF4-FFF2-40B4-BE49-F238E27FC236}">
                  <a16:creationId xmlns:a16="http://schemas.microsoft.com/office/drawing/2014/main" id="{08FF1763-3E85-4648-A6CF-42E00D518C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1931" y="4629994"/>
              <a:ext cx="457200" cy="457200"/>
            </a:xfrm>
            <a:prstGeom prst="rect">
              <a:avLst/>
            </a:prstGeom>
          </p:spPr>
        </p:pic>
        <p:sp>
          <p:nvSpPr>
            <p:cNvPr id="109" name="TextBox 16">
              <a:extLst>
                <a:ext uri="{FF2B5EF4-FFF2-40B4-BE49-F238E27FC236}">
                  <a16:creationId xmlns:a16="http://schemas.microsoft.com/office/drawing/2014/main" id="{F215953B-8677-45EF-BCE6-0E701B5845B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88442" y="3758876"/>
              <a:ext cx="884178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3</a:t>
              </a:r>
            </a:p>
          </p:txBody>
        </p:sp>
        <p:sp>
          <p:nvSpPr>
            <p:cNvPr id="110" name="TextBox 16">
              <a:extLst>
                <a:ext uri="{FF2B5EF4-FFF2-40B4-BE49-F238E27FC236}">
                  <a16:creationId xmlns:a16="http://schemas.microsoft.com/office/drawing/2014/main" id="{698A3485-92C8-4C7E-B1A4-A875532F36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88442" y="5170227"/>
              <a:ext cx="884178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en-US" sz="1100" dirty="0">
                  <a:solidFill>
                    <a:srgbClr val="232F3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rect Connect</a:t>
              </a:r>
            </a:p>
          </p:txBody>
        </p:sp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28A3D569-2F5D-4DCA-9E62-F35394F730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024778" y="1706278"/>
              <a:ext cx="438688" cy="431158"/>
            </a:xfrm>
            <a:prstGeom prst="rect">
              <a:avLst/>
            </a:prstGeom>
            <a:solidFill>
              <a:sysClr val="window" lastClr="FFFFFF"/>
            </a:solidFill>
          </p:spPr>
        </p:pic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BA03DD26-25FC-4845-8D6C-DA327BEEA2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037109" y="1709212"/>
              <a:ext cx="428224" cy="428224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AE8EF564-B930-486C-A504-64927C7FAD0A}"/>
                </a:ext>
              </a:extLst>
            </p:cNvPr>
            <p:cNvSpPr txBox="1"/>
            <p:nvPr/>
          </p:nvSpPr>
          <p:spPr>
            <a:xfrm>
              <a:off x="8915126" y="2167051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obe Target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BD88790A-43E7-456A-AE29-B14934DA9E90}"/>
                </a:ext>
              </a:extLst>
            </p:cNvPr>
            <p:cNvSpPr txBox="1"/>
            <p:nvPr/>
          </p:nvSpPr>
          <p:spPr>
            <a:xfrm>
              <a:off x="7915243" y="2146415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obe Analytics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B2E99F5F-5AF2-462A-9D4A-9FCA6C969E25}"/>
                </a:ext>
              </a:extLst>
            </p:cNvPr>
            <p:cNvSpPr/>
            <p:nvPr/>
          </p:nvSpPr>
          <p:spPr>
            <a:xfrm>
              <a:off x="7796700" y="1116251"/>
              <a:ext cx="1962812" cy="2420510"/>
            </a:xfrm>
            <a:prstGeom prst="rect">
              <a:avLst/>
            </a:prstGeom>
            <a:noFill/>
            <a:ln w="12700">
              <a:solidFill>
                <a:srgbClr val="5A6B8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5A6B8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aS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71BBBB34-5655-4A58-9D2C-86844B8D4D58}"/>
                </a:ext>
              </a:extLst>
            </p:cNvPr>
            <p:cNvSpPr/>
            <p:nvPr/>
          </p:nvSpPr>
          <p:spPr>
            <a:xfrm>
              <a:off x="7802242" y="3691632"/>
              <a:ext cx="1962812" cy="2456915"/>
            </a:xfrm>
            <a:prstGeom prst="rect">
              <a:avLst/>
            </a:prstGeom>
            <a:noFill/>
            <a:ln w="12700">
              <a:solidFill>
                <a:srgbClr val="5A6B8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2920" tIns="91440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5A6B8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EGON </a:t>
              </a:r>
              <a:r>
                <a:rPr lang="en-US" sz="1200" dirty="0" err="1">
                  <a:solidFill>
                    <a:srgbClr val="5A6B8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centre</a:t>
              </a:r>
              <a:endParaRPr lang="en-US" sz="1200" dirty="0">
                <a:solidFill>
                  <a:srgbClr val="5A6B8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1" name="Graphic 120">
              <a:extLst>
                <a:ext uri="{FF2B5EF4-FFF2-40B4-BE49-F238E27FC236}">
                  <a16:creationId xmlns:a16="http://schemas.microsoft.com/office/drawing/2014/main" id="{7C90D21C-D1F3-4332-BA6D-EBF3837C5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802242" y="3693221"/>
              <a:ext cx="381000" cy="381000"/>
            </a:xfrm>
            <a:prstGeom prst="rect">
              <a:avLst/>
            </a:prstGeom>
          </p:spPr>
        </p:pic>
        <p:pic>
          <p:nvPicPr>
            <p:cNvPr id="125" name="Picture 124" descr="Icon&#10;&#10;Description automatically generated">
              <a:extLst>
                <a:ext uri="{FF2B5EF4-FFF2-40B4-BE49-F238E27FC236}">
                  <a16:creationId xmlns:a16="http://schemas.microsoft.com/office/drawing/2014/main" id="{47FBB245-7B42-45A9-81C0-5E1BB87A1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3372" y="2813850"/>
              <a:ext cx="561638" cy="421553"/>
            </a:xfrm>
            <a:prstGeom prst="rect">
              <a:avLst/>
            </a:prstGeom>
          </p:spPr>
        </p:pic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DF8FECF-8546-4545-84EB-6521FFD7A4A5}"/>
                </a:ext>
              </a:extLst>
            </p:cNvPr>
            <p:cNvSpPr txBox="1"/>
            <p:nvPr/>
          </p:nvSpPr>
          <p:spPr>
            <a:xfrm>
              <a:off x="7923407" y="3258875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tbucket</a:t>
              </a:r>
            </a:p>
          </p:txBody>
        </p: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5EAE0262-42BA-43EC-92EE-CC7C40A083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8968626" y="2813850"/>
              <a:ext cx="396320" cy="437603"/>
            </a:xfrm>
            <a:prstGeom prst="rect">
              <a:avLst/>
            </a:prstGeom>
          </p:spPr>
        </p:pic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A36C7779-C99C-4345-B10B-3F3CF9DBAF40}"/>
                </a:ext>
              </a:extLst>
            </p:cNvPr>
            <p:cNvSpPr txBox="1"/>
            <p:nvPr/>
          </p:nvSpPr>
          <p:spPr>
            <a:xfrm>
              <a:off x="8841459" y="3258875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ira</a:t>
              </a:r>
            </a:p>
          </p:txBody>
        </p:sp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079B5203-A33A-4B67-9929-4C6621F148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 r="49822" b="3361"/>
            <a:stretch/>
          </p:blipFill>
          <p:spPr>
            <a:xfrm>
              <a:off x="7847995" y="5501457"/>
              <a:ext cx="786404" cy="331158"/>
            </a:xfrm>
            <a:prstGeom prst="rect">
              <a:avLst/>
            </a:prstGeom>
          </p:spPr>
        </p:pic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8972CCD8-E7C3-4E09-AD96-FED449939649}"/>
                </a:ext>
              </a:extLst>
            </p:cNvPr>
            <p:cNvSpPr txBox="1"/>
            <p:nvPr/>
          </p:nvSpPr>
          <p:spPr>
            <a:xfrm>
              <a:off x="7910413" y="5838320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err="1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ega</a:t>
              </a:r>
              <a:endParaRPr lang="en-US" sz="1200" dirty="0">
                <a:solidFill>
                  <a:srgbClr val="2D2D2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33" name="Picture 132" descr="Icon&#10;&#10;Description automatically generated">
              <a:extLst>
                <a:ext uri="{FF2B5EF4-FFF2-40B4-BE49-F238E27FC236}">
                  <a16:creationId xmlns:a16="http://schemas.microsoft.com/office/drawing/2014/main" id="{51EA919D-F06F-43AF-A1EF-37DA171691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10770" y="4067796"/>
              <a:ext cx="734636" cy="734636"/>
            </a:xfrm>
            <a:prstGeom prst="rect">
              <a:avLst/>
            </a:prstGeom>
          </p:spPr>
        </p:pic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030FBDEB-ABAF-4BEC-9171-2747B21B7B11}"/>
                </a:ext>
              </a:extLst>
            </p:cNvPr>
            <p:cNvSpPr txBox="1"/>
            <p:nvPr/>
          </p:nvSpPr>
          <p:spPr>
            <a:xfrm>
              <a:off x="7962065" y="4710719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ve Directory</a:t>
              </a:r>
            </a:p>
          </p:txBody>
        </p:sp>
        <p:pic>
          <p:nvPicPr>
            <p:cNvPr id="136" name="Picture 135" descr="Logo&#10;&#10;Description automatically generated">
              <a:extLst>
                <a:ext uri="{FF2B5EF4-FFF2-40B4-BE49-F238E27FC236}">
                  <a16:creationId xmlns:a16="http://schemas.microsoft.com/office/drawing/2014/main" id="{6AE7E76D-0F5D-41A7-A198-0A22F6D645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900" t="20645" r="33826" b="19034"/>
            <a:stretch/>
          </p:blipFill>
          <p:spPr>
            <a:xfrm>
              <a:off x="9024778" y="4159042"/>
              <a:ext cx="411997" cy="546977"/>
            </a:xfrm>
            <a:prstGeom prst="rect">
              <a:avLst/>
            </a:prstGeom>
          </p:spPr>
        </p:pic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6FB229B8-8CF0-4F3B-B269-B0AF6B4A4102}"/>
                </a:ext>
              </a:extLst>
            </p:cNvPr>
            <p:cNvSpPr txBox="1"/>
            <p:nvPr/>
          </p:nvSpPr>
          <p:spPr>
            <a:xfrm>
              <a:off x="8919541" y="4717406"/>
              <a:ext cx="66156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enkins </a:t>
              </a:r>
            </a:p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I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8F24A79B-04D9-4397-A882-30E102E6541A}"/>
                </a:ext>
              </a:extLst>
            </p:cNvPr>
            <p:cNvGrpSpPr/>
            <p:nvPr/>
          </p:nvGrpSpPr>
          <p:grpSpPr>
            <a:xfrm>
              <a:off x="9033806" y="5458925"/>
              <a:ext cx="347052" cy="381797"/>
              <a:chOff x="10880929" y="4118451"/>
              <a:chExt cx="534837" cy="681416"/>
            </a:xfrm>
          </p:grpSpPr>
          <p:pic>
            <p:nvPicPr>
              <p:cNvPr id="138" name="Graphic 21">
                <a:extLst>
                  <a:ext uri="{FF2B5EF4-FFF2-40B4-BE49-F238E27FC236}">
                    <a16:creationId xmlns:a16="http://schemas.microsoft.com/office/drawing/2014/main" id="{09E219F2-5154-48AF-990B-3D0504A112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80929" y="4298257"/>
                <a:ext cx="325459" cy="325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9" name="Graphic 21">
                <a:extLst>
                  <a:ext uri="{FF2B5EF4-FFF2-40B4-BE49-F238E27FC236}">
                    <a16:creationId xmlns:a16="http://schemas.microsoft.com/office/drawing/2014/main" id="{1E249CF8-DE86-4711-AC43-A137C3E056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81787" y="4474408"/>
                <a:ext cx="325459" cy="325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0" name="Graphic 21">
                <a:extLst>
                  <a:ext uri="{FF2B5EF4-FFF2-40B4-BE49-F238E27FC236}">
                    <a16:creationId xmlns:a16="http://schemas.microsoft.com/office/drawing/2014/main" id="{5B17E1BD-6D35-4901-B4A3-0F56D1D338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90307" y="4118451"/>
                <a:ext cx="325459" cy="325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8E351E89-A556-4359-997B-C1092B35273F}"/>
                </a:ext>
              </a:extLst>
            </p:cNvPr>
            <p:cNvSpPr txBox="1"/>
            <p:nvPr/>
          </p:nvSpPr>
          <p:spPr>
            <a:xfrm>
              <a:off x="8883991" y="5839437"/>
              <a:ext cx="66156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D2D2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th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074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F7DED-7C13-4B6E-B3D5-AC84B884F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"/>
            <a:ext cx="10515600" cy="733646"/>
          </a:xfrm>
        </p:spPr>
        <p:txBody>
          <a:bodyPr/>
          <a:lstStyle/>
          <a:p>
            <a:r>
              <a:rPr lang="en-GB" dirty="0"/>
              <a:t>Continuous Integ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9CBCB3-BE57-490C-836B-856441962E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6024" y="868675"/>
            <a:ext cx="8518525" cy="304800"/>
          </a:xfrm>
        </p:spPr>
        <p:txBody>
          <a:bodyPr/>
          <a:lstStyle/>
          <a:p>
            <a:r>
              <a:rPr lang="en-US" sz="1200" b="1" dirty="0"/>
              <a:t>Reliable Deployment. Agile Development. On-demand update.</a:t>
            </a:r>
            <a:endParaRPr lang="en-GB" sz="12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BE3226-0B2B-4D67-B8A6-F75E81CCB5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6030" y="1543202"/>
            <a:ext cx="8015660" cy="3703606"/>
          </a:xfrm>
          <a:prstGeom prst="rect">
            <a:avLst/>
          </a:prstGeom>
        </p:spPr>
      </p:pic>
      <p:sp>
        <p:nvSpPr>
          <p:cNvPr id="6" name="Content Placeholder 12">
            <a:extLst>
              <a:ext uri="{FF2B5EF4-FFF2-40B4-BE49-F238E27FC236}">
                <a16:creationId xmlns:a16="http://schemas.microsoft.com/office/drawing/2014/main" id="{06D4C94A-DFCA-4ACD-9B12-1C4CC8194F8D}"/>
              </a:ext>
            </a:extLst>
          </p:cNvPr>
          <p:cNvSpPr txBox="1">
            <a:spLocks/>
          </p:cNvSpPr>
          <p:nvPr/>
        </p:nvSpPr>
        <p:spPr bwMode="auto">
          <a:xfrm>
            <a:off x="1395580" y="5616536"/>
            <a:ext cx="9003061" cy="287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lnSpc>
                <a:spcPct val="120000"/>
              </a:lnSpc>
              <a:spcBef>
                <a:spcPts val="1200"/>
              </a:spcBef>
              <a:buClr>
                <a:srgbClr val="15A6BE"/>
              </a:buClr>
            </a:pPr>
            <a:r>
              <a:rPr lang="en-US" sz="1600" dirty="0">
                <a:solidFill>
                  <a:srgbClr val="99CCFF">
                    <a:lumMod val="25000"/>
                  </a:srgbClr>
                </a:solidFill>
                <a:latin typeface="+mn-lt"/>
                <a:cs typeface="Avenir Book"/>
                <a:sym typeface="Helvetica Light" charset="0"/>
              </a:rPr>
              <a:t>SECURITY.    SCALABILITY.    SEAMLESS INTEGRATION.    STREAMLINED DELIVERY.</a:t>
            </a:r>
          </a:p>
        </p:txBody>
      </p:sp>
    </p:spTree>
    <p:extLst>
      <p:ext uri="{BB962C8B-B14F-4D97-AF65-F5344CB8AC3E}">
        <p14:creationId xmlns:p14="http://schemas.microsoft.com/office/powerpoint/2010/main" val="190012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on.jGJMEiFnGd.tyVG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YknqqDaEGnewlEOpYA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Hk7BAILEW5FwQYPs98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riJEa.W0in5mnzEJ4Z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O8mwMjNkWiDgqxTXQs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j2h0dKRkOSk0HuokkD3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odTvMuIEGf2aAiICYe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eVCBIj9kuLTd0_A3zS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81FtdNHEqky2JrY6QE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Mb49SOHEKeoUCGW6yj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XnEVYXKEq6MolcwbwhK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BKQmGGnkiIoCyqd2sq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bXww1qgkC4GoQykV38t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bDwvlDyEWTEdHJuvm5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MxAe8U_UGzX9dCcFUZ2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j2h0dKRkOSk0HuokkD3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odTvMuIEGf2aAiICYe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eVCBIj9kuLTd0_A3zS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U3O8jTzkKb1LHL.A1l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x7nXu6w0Wk3CvKbNIg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WRN4RjUKuGkHovU5O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xyX2mXwEK84tCU43r.9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0rhZbltE2kH8CLPFJs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VkcjRuE0OvPfoyKWGR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5nL7oim0SpcUm8.SfQ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rzO5_x3kqYvHSqqlVG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a1vslTU0K1U1y5XODD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0hgpODH0.n5ShrVUq9s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7lxj.kF0GAMaP8D6Ti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s9nzQBv0iP4r3Arsbz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s9nzQBv0iP4r3ArsbzG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w6n73fLRjsz4D9ofPx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Okcj7W4U6lsqetRTrn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LOT3H.0Eu.EiO6fGuZ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9KfeRN4E2J4Cu5kw.W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PtZfmXtEWCrIWWmLHJLw"/>
</p:tagLst>
</file>

<file path=ppt/theme/theme1.xml><?xml version="1.0" encoding="utf-8"?>
<a:theme xmlns:a="http://schemas.openxmlformats.org/drawingml/2006/main" name="Aegon template 2019">
  <a:themeElements>
    <a:clrScheme name="Aegon 2019">
      <a:dk1>
        <a:srgbClr val="000000"/>
      </a:dk1>
      <a:lt1>
        <a:srgbClr val="FFFFFF"/>
      </a:lt1>
      <a:dk2>
        <a:srgbClr val="003C64"/>
      </a:dk2>
      <a:lt2>
        <a:srgbClr val="3395D3"/>
      </a:lt2>
      <a:accent1>
        <a:srgbClr val="0069B4"/>
      </a:accent1>
      <a:accent2>
        <a:srgbClr val="764AA0"/>
      </a:accent2>
      <a:accent3>
        <a:srgbClr val="EE0000"/>
      </a:accent3>
      <a:accent4>
        <a:srgbClr val="F27D00"/>
      </a:accent4>
      <a:accent5>
        <a:srgbClr val="FDC828"/>
      </a:accent5>
      <a:accent6>
        <a:srgbClr val="2BAEA3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PT Template - March 2022.pptx" id="{B097C39F-F8B0-41CB-BD3B-57ADDDB62599}" vid="{E0E88C7F-6DD4-41F0-8BCC-0DD178C9377E}"/>
    </a:ext>
  </a:extLst>
</a:theme>
</file>

<file path=ppt/theme/theme2.xml><?xml version="1.0" encoding="utf-8"?>
<a:theme xmlns:a="http://schemas.openxmlformats.org/drawingml/2006/main" name="1_Aegon template 2019">
  <a:themeElements>
    <a:clrScheme name="Aegon 2019">
      <a:dk1>
        <a:srgbClr val="000000"/>
      </a:dk1>
      <a:lt1>
        <a:srgbClr val="FFFFFF"/>
      </a:lt1>
      <a:dk2>
        <a:srgbClr val="003C64"/>
      </a:dk2>
      <a:lt2>
        <a:srgbClr val="3395D3"/>
      </a:lt2>
      <a:accent1>
        <a:srgbClr val="0069B4"/>
      </a:accent1>
      <a:accent2>
        <a:srgbClr val="764AA0"/>
      </a:accent2>
      <a:accent3>
        <a:srgbClr val="EE0000"/>
      </a:accent3>
      <a:accent4>
        <a:srgbClr val="F27D00"/>
      </a:accent4>
      <a:accent5>
        <a:srgbClr val="FDC828"/>
      </a:accent5>
      <a:accent6>
        <a:srgbClr val="49AF57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PT Template - March 2022.pptx" id="{B097C39F-F8B0-41CB-BD3B-57ADDDB62599}" vid="{A4A633C7-3D32-47F9-A42A-5FC06358684B}"/>
    </a:ext>
  </a:extLst>
</a:theme>
</file>

<file path=ppt/theme/theme3.xml><?xml version="1.0" encoding="utf-8"?>
<a:theme xmlns:a="http://schemas.openxmlformats.org/drawingml/2006/main" name="Aegon template 2019">
  <a:themeElements>
    <a:clrScheme name="Aegon 2019">
      <a:dk1>
        <a:srgbClr val="000000"/>
      </a:dk1>
      <a:lt1>
        <a:srgbClr val="FFFFFF"/>
      </a:lt1>
      <a:dk2>
        <a:srgbClr val="003C64"/>
      </a:dk2>
      <a:lt2>
        <a:srgbClr val="3395D3"/>
      </a:lt2>
      <a:accent1>
        <a:srgbClr val="0069B4"/>
      </a:accent1>
      <a:accent2>
        <a:srgbClr val="764AA0"/>
      </a:accent2>
      <a:accent3>
        <a:srgbClr val="EE0000"/>
      </a:accent3>
      <a:accent4>
        <a:srgbClr val="F27D00"/>
      </a:accent4>
      <a:accent5>
        <a:srgbClr val="FDC828"/>
      </a:accent5>
      <a:accent6>
        <a:srgbClr val="2BAEA3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PT Template - March 2022.pptx" id="{B097C39F-F8B0-41CB-BD3B-57ADDDB62599}" vid="{026DF229-F768-48C9-9EC2-61F796896AF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183AF4969EAF43BBEC365D21D6D19D" ma:contentTypeVersion="17" ma:contentTypeDescription="Create a new document." ma:contentTypeScope="" ma:versionID="702d9b0ce314488891ab464feb5409f9">
  <xsd:schema xmlns:xsd="http://www.w3.org/2001/XMLSchema" xmlns:xs="http://www.w3.org/2001/XMLSchema" xmlns:p="http://schemas.microsoft.com/office/2006/metadata/properties" xmlns:ns1="http://schemas.microsoft.com/sharepoint/v3" xmlns:ns2="06716eee-2625-4095-8abf-639c74ce679f" xmlns:ns3="3cd766f3-da34-4982-9b8c-738a4581c217" targetNamespace="http://schemas.microsoft.com/office/2006/metadata/properties" ma:root="true" ma:fieldsID="5cf5fcb07b07d9fd932e8b077575706c" ns1:_="" ns2:_="" ns3:_="">
    <xsd:import namespace="http://schemas.microsoft.com/sharepoint/v3"/>
    <xsd:import namespace="06716eee-2625-4095-8abf-639c74ce679f"/>
    <xsd:import namespace="3cd766f3-da34-4982-9b8c-738a4581c2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16eee-2625-4095-8abf-639c74ce67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d766f3-da34-4982-9b8c-738a4581c217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C234FC4-79F5-4AC1-A795-A5515DEAB6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6716eee-2625-4095-8abf-639c74ce679f"/>
    <ds:schemaRef ds:uri="3cd766f3-da34-4982-9b8c-738a4581c2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D261155-B80F-42F6-A5E8-0EBDD388C4E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D741FB-3579-4604-AE23-4DD9CCA1AFC5}">
  <ds:schemaRefs>
    <ds:schemaRef ds:uri="http://schemas.microsoft.com/office/2006/documentManagement/types"/>
    <ds:schemaRef ds:uri="http://purl.org/dc/elements/1.1/"/>
    <ds:schemaRef ds:uri="3cd766f3-da34-4982-9b8c-738a4581c217"/>
    <ds:schemaRef ds:uri="http://schemas.microsoft.com/sharepoint/v3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06716eee-2625-4095-8abf-639c74ce679f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gon ppt template 2022</Template>
  <TotalTime>2427</TotalTime>
  <Words>2047</Words>
  <Application>Microsoft Office PowerPoint</Application>
  <PresentationFormat>Widescreen</PresentationFormat>
  <Paragraphs>898</Paragraphs>
  <Slides>2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Adobe Clean</vt:lpstr>
      <vt:lpstr>Arial</vt:lpstr>
      <vt:lpstr>Calibri</vt:lpstr>
      <vt:lpstr>Georgia</vt:lpstr>
      <vt:lpstr>Symbol</vt:lpstr>
      <vt:lpstr>Wingdings</vt:lpstr>
      <vt:lpstr>Aegon template 2019</vt:lpstr>
      <vt:lpstr>1_Aegon template 2019</vt:lpstr>
      <vt:lpstr>Aegon template 2019</vt:lpstr>
      <vt:lpstr>think-cell Slide</vt:lpstr>
      <vt:lpstr>New Public Web</vt:lpstr>
      <vt:lpstr>Content</vt:lpstr>
      <vt:lpstr>Concept: Next-gen Insurance Solution</vt:lpstr>
      <vt:lpstr>Concept: Next-gen Insurance Solution</vt:lpstr>
      <vt:lpstr>Logical Architecture: New Public Web</vt:lpstr>
      <vt:lpstr>Physical topology – Production environment</vt:lpstr>
      <vt:lpstr>Physical topology – Staging / UAT environment</vt:lpstr>
      <vt:lpstr>Physical topology – Development environment</vt:lpstr>
      <vt:lpstr>Continuous Integration</vt:lpstr>
      <vt:lpstr>DevOps workflow</vt:lpstr>
      <vt:lpstr>UI Component Development Method</vt:lpstr>
      <vt:lpstr>ADX – Analytics Integration</vt:lpstr>
      <vt:lpstr>Main features</vt:lpstr>
      <vt:lpstr>Experience personalisation</vt:lpstr>
      <vt:lpstr>Customer journey orchestration</vt:lpstr>
      <vt:lpstr>Continuous content enrichment</vt:lpstr>
      <vt:lpstr>Team Structure</vt:lpstr>
      <vt:lpstr>Development Cycle</vt:lpstr>
      <vt:lpstr>Development methodology</vt:lpstr>
      <vt:lpstr>Content Publishing Process</vt:lpstr>
      <vt:lpstr>Project Governance</vt:lpstr>
      <vt:lpstr>Effort estimation – ADX SPA Analytics</vt:lpstr>
      <vt:lpstr>Appendix</vt:lpstr>
      <vt:lpstr>Adobe cloud services</vt:lpstr>
      <vt:lpstr>Benefits of Adobe Target</vt:lpstr>
      <vt:lpstr>Benefits of Target + Analytics</vt:lpstr>
      <vt:lpstr>How Adobe Target work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egon Corporate Presentation - February 2022</dc:subject>
  <dc:creator>Parimi, Srinivas Gopinath</dc:creator>
  <cp:keywords>Aegon, international footprint, overview, performance, sharing value, sustainability</cp:keywords>
  <cp:lastModifiedBy>Parimi, Srinivas Gopinath (Cognizant)</cp:lastModifiedBy>
  <cp:revision>250</cp:revision>
  <cp:lastPrinted>2022-02-03T11:38:45Z</cp:lastPrinted>
  <dcterms:created xsi:type="dcterms:W3CDTF">2022-06-14T09:48:17Z</dcterms:created>
  <dcterms:modified xsi:type="dcterms:W3CDTF">2022-10-17T16:37:52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100</vt:r8>
  </property>
  <property fmtid="{D5CDD505-2E9C-101B-9397-08002B2CF9AE}" pid="3" name="ContentTypeId">
    <vt:lpwstr>0x01010050183AF4969EAF43BBEC365D21D6D19D</vt:lpwstr>
  </property>
</Properties>
</file>